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ink/ink1.xml" ContentType="application/inkml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256" r:id="rId5"/>
    <p:sldId id="257" r:id="rId6"/>
    <p:sldId id="704" r:id="rId7"/>
    <p:sldId id="764" r:id="rId8"/>
    <p:sldId id="705" r:id="rId9"/>
    <p:sldId id="763" r:id="rId10"/>
    <p:sldId id="713" r:id="rId11"/>
    <p:sldId id="712" r:id="rId12"/>
    <p:sldId id="767" r:id="rId13"/>
    <p:sldId id="768" r:id="rId14"/>
    <p:sldId id="273" r:id="rId15"/>
    <p:sldId id="274" r:id="rId16"/>
  </p:sldIdLst>
  <p:sldSz cx="12192000" cy="6858000"/>
  <p:notesSz cx="6858000" cy="9144000"/>
  <p:defaultTextStyle>
    <a:defPPr>
      <a:defRPr lang="sk-S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252AA70-5506-74AB-F935-8BA05EECDBF9}" name="Jan Kozák" initials="JK" userId="S::kozak@axenta.cz::c59174c4-0f70-4d96-9fc1-fee57c46d45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95979C"/>
    <a:srgbClr val="E3EC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89346" autoAdjust="0"/>
  </p:normalViewPr>
  <p:slideViewPr>
    <p:cSldViewPr snapToGrid="0">
      <p:cViewPr varScale="1">
        <p:scale>
          <a:sx n="142" d="100"/>
          <a:sy n="142" d="100"/>
        </p:scale>
        <p:origin x="870" y="12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4632" y="105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8/10/relationships/authors" Target="authors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hlavičku 1">
            <a:extLst>
              <a:ext uri="{FF2B5EF4-FFF2-40B4-BE49-F238E27FC236}">
                <a16:creationId xmlns:a16="http://schemas.microsoft.com/office/drawing/2014/main" id="{5A257B55-03C5-4618-8810-AFFF22592C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Zástupný objekt pre dátum 2">
            <a:extLst>
              <a:ext uri="{FF2B5EF4-FFF2-40B4-BE49-F238E27FC236}">
                <a16:creationId xmlns:a16="http://schemas.microsoft.com/office/drawing/2014/main" id="{090E96DE-D949-4A51-9220-CBA8B47A86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7B279F-DBC1-4CED-B5C4-6A8338FDFEA5}" type="datetimeFigureOut">
              <a:rPr lang="sk-SK" smtClean="0"/>
              <a:t>11. 3. 2024</a:t>
            </a:fld>
            <a:endParaRPr lang="sk-SK"/>
          </a:p>
        </p:txBody>
      </p:sp>
      <p:sp>
        <p:nvSpPr>
          <p:cNvPr id="4" name="Zástupný objekt pre pätu 3">
            <a:extLst>
              <a:ext uri="{FF2B5EF4-FFF2-40B4-BE49-F238E27FC236}">
                <a16:creationId xmlns:a16="http://schemas.microsoft.com/office/drawing/2014/main" id="{97A369A5-00F2-482F-BE60-CABCDB46523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5" name="Zástupný objekt pre číslo snímky 4">
            <a:extLst>
              <a:ext uri="{FF2B5EF4-FFF2-40B4-BE49-F238E27FC236}">
                <a16:creationId xmlns:a16="http://schemas.microsoft.com/office/drawing/2014/main" id="{4569CE35-14D7-4342-9EFD-619E0F2BB01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BDC4A5-66FE-40CB-92E7-5BA59FB9EADF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1978213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4-01-30T20:00:06.648"/>
    </inkml:context>
    <inkml:brush xml:id="br0">
      <inkml:brushProperty name="width" value="0.05" units="cm"/>
      <inkml:brushProperty name="height" value="0.05" units="cm"/>
      <inkml:brushProperty name="color" value="#E71224"/>
    </inkml:brush>
  </inkml:definitions>
  <inkml:trace contextRef="#ctx0" brushRef="#br0">0 0 24575,'0'0'-819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9A7985-E681-4365-9C35-A650119500E4}" type="datetimeFigureOut">
              <a:rPr lang="sk-SK" smtClean="0"/>
              <a:t>11. 3. 2024</a:t>
            </a:fld>
            <a:endParaRPr lang="sk-SK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sk-SK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6DCF88-1B43-4E5C-867C-028E875E3D86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7175440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CFBE79-09E4-476B-AC6E-8751983C7442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0831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DCF88-1B43-4E5C-867C-028E875E3D86}" type="slidenum">
              <a:rPr lang="sk-SK" smtClean="0"/>
              <a:t>5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2075110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DCF88-1B43-4E5C-867C-028E875E3D86}" type="slidenum">
              <a:rPr lang="sk-SK" smtClean="0"/>
              <a:t>6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989922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noProof="0"/>
          </a:p>
          <a:p>
            <a:endParaRPr lang="sk-S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CFBE79-09E4-476B-AC6E-8751983C7442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0831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lnSpc>
                <a:spcPct val="100000"/>
              </a:lnSpc>
              <a:spcBef>
                <a:spcPts val="201"/>
              </a:spcBef>
              <a:buFont typeface="Arial" panose="020B0604020202020204" pitchFamily="34" charset="0"/>
              <a:buChar char="•"/>
            </a:pP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DCF88-1B43-4E5C-867C-028E875E3D86}" type="slidenum">
              <a:rPr lang="sk-SK" smtClean="0"/>
              <a:t>8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144280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6DCF88-1B43-4E5C-867C-028E875E3D86}" type="slidenum">
              <a:rPr lang="sk-SK" smtClean="0"/>
              <a:t>9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9785193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6DCF88-1B43-4E5C-867C-028E875E3D86}" type="slidenum">
              <a:rPr lang="sk-SK" smtClean="0"/>
              <a:t>11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750841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601" b="1">
                <a:solidFill>
                  <a:srgbClr val="F42736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1pPr>
          </a:lstStyle>
          <a:p>
            <a:r>
              <a:rPr lang="en-US"/>
              <a:t>TITLE</a:t>
            </a:r>
            <a:endParaRPr lang="sk-S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2800"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186" indent="0" algn="ctr">
              <a:buNone/>
              <a:defRPr sz="2000"/>
            </a:lvl2pPr>
            <a:lvl3pPr marL="914372" indent="0" algn="ctr">
              <a:buNone/>
              <a:defRPr sz="1801"/>
            </a:lvl3pPr>
            <a:lvl4pPr marL="1371560" indent="0" algn="ctr">
              <a:buNone/>
              <a:defRPr sz="1600"/>
            </a:lvl4pPr>
            <a:lvl5pPr marL="1828746" indent="0" algn="ctr">
              <a:buNone/>
              <a:defRPr sz="1600"/>
            </a:lvl5pPr>
            <a:lvl6pPr marL="2285933" indent="0" algn="ctr">
              <a:buNone/>
              <a:defRPr sz="1600"/>
            </a:lvl6pPr>
            <a:lvl7pPr marL="2743119" indent="0" algn="ctr">
              <a:buNone/>
              <a:defRPr sz="1600"/>
            </a:lvl7pPr>
            <a:lvl8pPr marL="3200307" indent="0" algn="ctr">
              <a:buNone/>
              <a:defRPr sz="1600"/>
            </a:lvl8pPr>
            <a:lvl9pPr marL="3657493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9458504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oddelova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445" y="2918753"/>
            <a:ext cx="10515600" cy="1325563"/>
          </a:xfrm>
        </p:spPr>
        <p:txBody>
          <a:bodyPr>
            <a:normAutofit/>
          </a:bodyPr>
          <a:lstStyle>
            <a:lvl1pPr>
              <a:defRPr sz="5401"/>
            </a:lvl1pPr>
          </a:lstStyle>
          <a:p>
            <a:r>
              <a:rPr lang="cs-CZ"/>
              <a:t>Kliknutím lze upravit styl.</a:t>
            </a:r>
            <a:endParaRPr lang="sk-S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17E394-F93A-47DE-9C16-541580D00E01}" type="datetimeFigureOut">
              <a:rPr lang="sk-SK" smtClean="0"/>
              <a:t>11. 3. 2024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01973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kladný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3" y="989592"/>
            <a:ext cx="8350306" cy="883811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2341755"/>
            <a:ext cx="6643255" cy="3817976"/>
          </a:xfrm>
        </p:spPr>
        <p:txBody>
          <a:bodyPr/>
          <a:lstStyle>
            <a:lvl3pPr>
              <a:defRPr>
                <a:solidFill>
                  <a:srgbClr val="D2A050"/>
                </a:solidFill>
              </a:defRPr>
            </a:lvl3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sk-S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17E394-F93A-47DE-9C16-541580D00E01}" type="datetimeFigureOut">
              <a:rPr lang="sk-SK" smtClean="0"/>
              <a:t>11. 3. 2024</a:t>
            </a:fld>
            <a:endParaRPr lang="sk-SK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6189667" y="989594"/>
            <a:ext cx="5164137" cy="4887333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9603241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885970"/>
            <a:ext cx="10515600" cy="995915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sk-S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1" y="2505075"/>
            <a:ext cx="5157787" cy="3315862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sk-SK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315862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sk-SK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17E394-F93A-47DE-9C16-541580D00E01}" type="datetimeFigureOut">
              <a:rPr lang="sk-SK" smtClean="0"/>
              <a:t>11. 3. 2024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5339162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4" y="989592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TITLE</a:t>
            </a:r>
            <a:endParaRPr lang="sk-S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4" y="2341756"/>
            <a:ext cx="10515600" cy="35349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sk-S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69849" y="15611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1">
                <a:solidFill>
                  <a:srgbClr val="D2A050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1pPr>
          </a:lstStyle>
          <a:p>
            <a:fld id="{9917E394-F93A-47DE-9C16-541580D00E01}" type="datetimeFigureOut">
              <a:rPr lang="sk-SK" smtClean="0"/>
              <a:pPr/>
              <a:t>11. 3. 2024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150415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0" r:id="rId3"/>
    <p:sldLayoutId id="2147483653" r:id="rId4"/>
  </p:sldLayoutIdLst>
  <p:txStyles>
    <p:titleStyle>
      <a:lvl1pPr algn="l" defTabSz="914372" rtl="0" eaLnBrk="1" latinLnBrk="0" hangingPunct="1">
        <a:lnSpc>
          <a:spcPct val="90000"/>
        </a:lnSpc>
        <a:spcBef>
          <a:spcPct val="0"/>
        </a:spcBef>
        <a:buNone/>
        <a:defRPr sz="4800" b="1" kern="1200">
          <a:solidFill>
            <a:schemeClr val="tx1"/>
          </a:solidFill>
          <a:latin typeface="Tw Cen MT" panose="020B0602020104020603" pitchFamily="34" charset="0"/>
          <a:ea typeface="Ebrima" panose="02000000000000000000" pitchFamily="2" charset="0"/>
          <a:cs typeface="Ebrima" panose="02000000000000000000" pitchFamily="2" charset="0"/>
        </a:defRPr>
      </a:lvl1pPr>
    </p:titleStyle>
    <p:bodyStyle>
      <a:lvl1pPr marL="0" indent="0" algn="l" defTabSz="914372" rtl="0" eaLnBrk="1" latinLnBrk="0" hangingPunct="1">
        <a:lnSpc>
          <a:spcPct val="90000"/>
        </a:lnSpc>
        <a:spcBef>
          <a:spcPts val="1001"/>
        </a:spcBef>
        <a:buFontTx/>
        <a:buNone/>
        <a:defRPr sz="3200" b="1" kern="1200">
          <a:solidFill>
            <a:schemeClr val="tx2"/>
          </a:solidFill>
          <a:latin typeface="Tw Cen MT" panose="020B0602020104020603" pitchFamily="34" charset="0"/>
          <a:ea typeface="Ebrima" panose="02000000000000000000" pitchFamily="2" charset="0"/>
          <a:cs typeface="Ebrima" panose="02000000000000000000" pitchFamily="2" charset="0"/>
        </a:defRPr>
      </a:lvl1pPr>
      <a:lvl2pPr marL="457186" indent="0" algn="l" defTabSz="9143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800" kern="1200">
          <a:solidFill>
            <a:schemeClr val="tx2"/>
          </a:solidFill>
          <a:latin typeface="Tw Cen MT" panose="020B0602020104020603" pitchFamily="34" charset="0"/>
          <a:ea typeface="Ebrima" panose="02000000000000000000" pitchFamily="2" charset="0"/>
          <a:cs typeface="Ebrima" panose="02000000000000000000" pitchFamily="2" charset="0"/>
        </a:defRPr>
      </a:lvl2pPr>
      <a:lvl3pPr marL="1142967" indent="-228593" algn="l" defTabSz="9143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accent4"/>
          </a:solidFill>
          <a:latin typeface="Tw Cen MT" panose="020B0602020104020603" pitchFamily="34" charset="0"/>
          <a:ea typeface="Ebrima" panose="02000000000000000000" pitchFamily="2" charset="0"/>
          <a:cs typeface="Ebrima" panose="02000000000000000000" pitchFamily="2" charset="0"/>
        </a:defRPr>
      </a:lvl3pPr>
      <a:lvl4pPr marL="1600153" indent="-228593" algn="l" defTabSz="9143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2">
              <a:lumMod val="50000"/>
            </a:schemeClr>
          </a:solidFill>
          <a:latin typeface="Tw Cen MT" panose="020B0602020104020603" pitchFamily="34" charset="0"/>
          <a:ea typeface="Ebrima" panose="02000000000000000000" pitchFamily="2" charset="0"/>
          <a:cs typeface="Ebrima" panose="02000000000000000000" pitchFamily="2" charset="0"/>
        </a:defRPr>
      </a:lvl4pPr>
      <a:lvl5pPr marL="2057339" indent="-228593" algn="l" defTabSz="9143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2">
              <a:lumMod val="75000"/>
            </a:schemeClr>
          </a:solidFill>
          <a:latin typeface="Tw Cen MT" panose="020B0602020104020603" pitchFamily="34" charset="0"/>
          <a:ea typeface="Ebrima" panose="02000000000000000000" pitchFamily="2" charset="0"/>
          <a:cs typeface="Ebrima" panose="02000000000000000000" pitchFamily="2" charset="0"/>
        </a:defRPr>
      </a:lvl5pPr>
      <a:lvl6pPr marL="2514526" indent="-228593" algn="l" defTabSz="9143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4" indent="-228593" algn="l" defTabSz="9143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900" indent="-228593" algn="l" defTabSz="9143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86" indent="-228593" algn="l" defTabSz="9143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37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86" algn="l" defTabSz="91437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72" algn="l" defTabSz="91437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0" algn="l" defTabSz="91437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746" algn="l" defTabSz="91437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933" algn="l" defTabSz="91437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119" algn="l" defTabSz="91437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307" algn="l" defTabSz="91437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493" algn="l" defTabSz="91437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mailto:kozak@axenta.cz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customXml" Target="../ink/ink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6.emf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image" Target="../media/image99.png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image" Target="../media/image98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image" Target="../media/image97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slideLayout" Target="../slideLayouts/slideLayout3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8" Type="http://schemas.openxmlformats.org/officeDocument/2006/relationships/tags" Target="../tags/tag8.xml"/><Relationship Id="rId3" Type="http://schemas.openxmlformats.org/officeDocument/2006/relationships/tags" Target="../tags/tag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sv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9.png"/><Relationship Id="rId21" Type="http://schemas.openxmlformats.org/officeDocument/2006/relationships/image" Target="../media/image34.tiff"/><Relationship Id="rId42" Type="http://schemas.openxmlformats.org/officeDocument/2006/relationships/image" Target="../media/image55.png"/><Relationship Id="rId47" Type="http://schemas.openxmlformats.org/officeDocument/2006/relationships/image" Target="../media/image60.png"/><Relationship Id="rId63" Type="http://schemas.openxmlformats.org/officeDocument/2006/relationships/image" Target="../media/image76.png"/><Relationship Id="rId68" Type="http://schemas.openxmlformats.org/officeDocument/2006/relationships/image" Target="../media/image81.png"/><Relationship Id="rId16" Type="http://schemas.openxmlformats.org/officeDocument/2006/relationships/image" Target="../media/image29.png"/><Relationship Id="rId11" Type="http://schemas.openxmlformats.org/officeDocument/2006/relationships/image" Target="../media/image24.jpeg"/><Relationship Id="rId24" Type="http://schemas.openxmlformats.org/officeDocument/2006/relationships/image" Target="../media/image37.jpeg"/><Relationship Id="rId32" Type="http://schemas.openxmlformats.org/officeDocument/2006/relationships/image" Target="../media/image45.png"/><Relationship Id="rId37" Type="http://schemas.openxmlformats.org/officeDocument/2006/relationships/image" Target="../media/image50.png"/><Relationship Id="rId40" Type="http://schemas.openxmlformats.org/officeDocument/2006/relationships/image" Target="../media/image53.emf"/><Relationship Id="rId45" Type="http://schemas.openxmlformats.org/officeDocument/2006/relationships/image" Target="../media/image58.png"/><Relationship Id="rId53" Type="http://schemas.openxmlformats.org/officeDocument/2006/relationships/image" Target="../media/image66.png"/><Relationship Id="rId58" Type="http://schemas.openxmlformats.org/officeDocument/2006/relationships/image" Target="../media/image71.png"/><Relationship Id="rId66" Type="http://schemas.openxmlformats.org/officeDocument/2006/relationships/image" Target="../media/image79.png"/><Relationship Id="rId74" Type="http://schemas.openxmlformats.org/officeDocument/2006/relationships/image" Target="../media/image87.jpg"/><Relationship Id="rId5" Type="http://schemas.openxmlformats.org/officeDocument/2006/relationships/image" Target="../media/image18.tiff"/><Relationship Id="rId61" Type="http://schemas.openxmlformats.org/officeDocument/2006/relationships/image" Target="../media/image74.png"/><Relationship Id="rId19" Type="http://schemas.openxmlformats.org/officeDocument/2006/relationships/image" Target="../media/image32.png"/><Relationship Id="rId14" Type="http://schemas.openxmlformats.org/officeDocument/2006/relationships/image" Target="../media/image27.png"/><Relationship Id="rId22" Type="http://schemas.openxmlformats.org/officeDocument/2006/relationships/image" Target="../media/image35.png"/><Relationship Id="rId27" Type="http://schemas.openxmlformats.org/officeDocument/2006/relationships/image" Target="../media/image40.png"/><Relationship Id="rId30" Type="http://schemas.openxmlformats.org/officeDocument/2006/relationships/image" Target="../media/image43.png"/><Relationship Id="rId35" Type="http://schemas.openxmlformats.org/officeDocument/2006/relationships/image" Target="../media/image48.png"/><Relationship Id="rId43" Type="http://schemas.openxmlformats.org/officeDocument/2006/relationships/image" Target="../media/image56.png"/><Relationship Id="rId48" Type="http://schemas.openxmlformats.org/officeDocument/2006/relationships/image" Target="../media/image61.tiff"/><Relationship Id="rId56" Type="http://schemas.openxmlformats.org/officeDocument/2006/relationships/image" Target="../media/image69.png"/><Relationship Id="rId64" Type="http://schemas.openxmlformats.org/officeDocument/2006/relationships/image" Target="../media/image77.jpg"/><Relationship Id="rId69" Type="http://schemas.openxmlformats.org/officeDocument/2006/relationships/image" Target="../media/image82.png"/><Relationship Id="rId77" Type="http://schemas.openxmlformats.org/officeDocument/2006/relationships/image" Target="../media/image90.png"/><Relationship Id="rId8" Type="http://schemas.openxmlformats.org/officeDocument/2006/relationships/image" Target="../media/image21.png"/><Relationship Id="rId51" Type="http://schemas.openxmlformats.org/officeDocument/2006/relationships/image" Target="../media/image64.jpeg"/><Relationship Id="rId72" Type="http://schemas.openxmlformats.org/officeDocument/2006/relationships/image" Target="../media/image85.png"/><Relationship Id="rId3" Type="http://schemas.openxmlformats.org/officeDocument/2006/relationships/image" Target="../media/image16.png"/><Relationship Id="rId12" Type="http://schemas.openxmlformats.org/officeDocument/2006/relationships/image" Target="../media/image25.png"/><Relationship Id="rId17" Type="http://schemas.openxmlformats.org/officeDocument/2006/relationships/image" Target="../media/image30.jpeg"/><Relationship Id="rId25" Type="http://schemas.openxmlformats.org/officeDocument/2006/relationships/image" Target="../media/image38.jpeg"/><Relationship Id="rId33" Type="http://schemas.openxmlformats.org/officeDocument/2006/relationships/image" Target="../media/image46.png"/><Relationship Id="rId38" Type="http://schemas.openxmlformats.org/officeDocument/2006/relationships/image" Target="../media/image51.png"/><Relationship Id="rId46" Type="http://schemas.openxmlformats.org/officeDocument/2006/relationships/image" Target="../media/image59.jpeg"/><Relationship Id="rId59" Type="http://schemas.openxmlformats.org/officeDocument/2006/relationships/image" Target="../media/image72.png"/><Relationship Id="rId67" Type="http://schemas.openxmlformats.org/officeDocument/2006/relationships/image" Target="../media/image80.gif"/><Relationship Id="rId20" Type="http://schemas.openxmlformats.org/officeDocument/2006/relationships/image" Target="../media/image33.png"/><Relationship Id="rId41" Type="http://schemas.openxmlformats.org/officeDocument/2006/relationships/image" Target="../media/image54.png"/><Relationship Id="rId54" Type="http://schemas.openxmlformats.org/officeDocument/2006/relationships/image" Target="../media/image67.png"/><Relationship Id="rId62" Type="http://schemas.openxmlformats.org/officeDocument/2006/relationships/image" Target="../media/image75.png"/><Relationship Id="rId70" Type="http://schemas.openxmlformats.org/officeDocument/2006/relationships/image" Target="../media/image83.png"/><Relationship Id="rId75" Type="http://schemas.openxmlformats.org/officeDocument/2006/relationships/image" Target="../media/image8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15" Type="http://schemas.openxmlformats.org/officeDocument/2006/relationships/image" Target="../media/image28.png"/><Relationship Id="rId23" Type="http://schemas.openxmlformats.org/officeDocument/2006/relationships/image" Target="../media/image36.tiff"/><Relationship Id="rId28" Type="http://schemas.openxmlformats.org/officeDocument/2006/relationships/image" Target="../media/image41.png"/><Relationship Id="rId36" Type="http://schemas.openxmlformats.org/officeDocument/2006/relationships/image" Target="../media/image49.png"/><Relationship Id="rId49" Type="http://schemas.openxmlformats.org/officeDocument/2006/relationships/image" Target="../media/image62.jpeg"/><Relationship Id="rId57" Type="http://schemas.openxmlformats.org/officeDocument/2006/relationships/image" Target="../media/image70.png"/><Relationship Id="rId10" Type="http://schemas.openxmlformats.org/officeDocument/2006/relationships/image" Target="../media/image23.png"/><Relationship Id="rId31" Type="http://schemas.openxmlformats.org/officeDocument/2006/relationships/image" Target="../media/image44.jpeg"/><Relationship Id="rId44" Type="http://schemas.openxmlformats.org/officeDocument/2006/relationships/image" Target="../media/image57.svg"/><Relationship Id="rId52" Type="http://schemas.openxmlformats.org/officeDocument/2006/relationships/image" Target="../media/image65.png"/><Relationship Id="rId60" Type="http://schemas.openxmlformats.org/officeDocument/2006/relationships/image" Target="../media/image73.png"/><Relationship Id="rId65" Type="http://schemas.openxmlformats.org/officeDocument/2006/relationships/image" Target="../media/image78.png"/><Relationship Id="rId73" Type="http://schemas.openxmlformats.org/officeDocument/2006/relationships/image" Target="../media/image86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3" Type="http://schemas.openxmlformats.org/officeDocument/2006/relationships/image" Target="../media/image26.png"/><Relationship Id="rId18" Type="http://schemas.openxmlformats.org/officeDocument/2006/relationships/image" Target="../media/image31.png"/><Relationship Id="rId39" Type="http://schemas.openxmlformats.org/officeDocument/2006/relationships/image" Target="../media/image52.tiff"/><Relationship Id="rId34" Type="http://schemas.openxmlformats.org/officeDocument/2006/relationships/image" Target="../media/image47.png"/><Relationship Id="rId50" Type="http://schemas.openxmlformats.org/officeDocument/2006/relationships/image" Target="../media/image63.tiff"/><Relationship Id="rId55" Type="http://schemas.openxmlformats.org/officeDocument/2006/relationships/image" Target="../media/image68.png"/><Relationship Id="rId76" Type="http://schemas.openxmlformats.org/officeDocument/2006/relationships/image" Target="../media/image89.png"/><Relationship Id="rId7" Type="http://schemas.openxmlformats.org/officeDocument/2006/relationships/image" Target="../media/image20.png"/><Relationship Id="rId71" Type="http://schemas.openxmlformats.org/officeDocument/2006/relationships/image" Target="../media/image84.jpg"/><Relationship Id="rId2" Type="http://schemas.openxmlformats.org/officeDocument/2006/relationships/notesSlide" Target="../notesSlides/notesSlide3.xml"/><Relationship Id="rId29" Type="http://schemas.openxmlformats.org/officeDocument/2006/relationships/image" Target="../media/image4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D3608AC-5E80-44FE-BFCF-7CF2C6E3B2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81909"/>
            <a:ext cx="9144000" cy="3402965"/>
          </a:xfrm>
        </p:spPr>
        <p:txBody>
          <a:bodyPr>
            <a:normAutofit fontScale="90000"/>
          </a:bodyPr>
          <a:lstStyle/>
          <a:p>
            <a:br>
              <a:rPr lang="cs-CZ" sz="4900" dirty="0">
                <a:solidFill>
                  <a:srgbClr val="FF000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cs-CZ" sz="4900" dirty="0">
                <a:solidFill>
                  <a:srgbClr val="FF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CASE STUDY</a:t>
            </a:r>
            <a:br>
              <a:rPr lang="cs-CZ" sz="3600" dirty="0">
                <a:solidFill>
                  <a:srgbClr val="FF000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cs-CZ" sz="36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-</a:t>
            </a:r>
            <a:br>
              <a:rPr lang="cs-CZ" sz="3600" dirty="0">
                <a:solidFill>
                  <a:srgbClr val="FF000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cs-CZ" sz="44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Zajištění </a:t>
            </a:r>
            <a:r>
              <a:rPr lang="cs-CZ" sz="4400" dirty="0">
                <a:solidFill>
                  <a:srgbClr val="FF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ybernetické bezpečnosti </a:t>
            </a:r>
            <a:r>
              <a:rPr lang="cs-CZ" sz="44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v ne/</a:t>
            </a:r>
            <a:r>
              <a:rPr lang="cs-CZ" sz="4400" dirty="0">
                <a:solidFill>
                  <a:srgbClr val="FF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výrobní</a:t>
            </a:r>
            <a:r>
              <a:rPr lang="cs-CZ" sz="440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společnosti</a:t>
            </a:r>
            <a:br>
              <a:rPr lang="cs-CZ" sz="4000" dirty="0">
                <a:ea typeface="Tahoma" panose="020B0604030504040204" pitchFamily="34" charset="0"/>
                <a:cs typeface="Tahoma" panose="020B0604030504040204" pitchFamily="34" charset="0"/>
              </a:rPr>
            </a:br>
            <a:br>
              <a:rPr lang="cs-CZ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endParaRPr lang="cs-CZ" sz="3200" dirty="0"/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84DF6098-67C8-4148-BD6D-72C2DCB62B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99723" y="4929350"/>
            <a:ext cx="5188084" cy="179181"/>
          </a:xfrm>
        </p:spPr>
        <p:txBody>
          <a:bodyPr>
            <a:normAutofit fontScale="25000" lnSpcReduction="20000"/>
          </a:bodyPr>
          <a:lstStyle/>
          <a:p>
            <a:pPr algn="r"/>
            <a:r>
              <a:rPr lang="cs-CZ" sz="9600" dirty="0"/>
              <a:t>Jan Kozák</a:t>
            </a:r>
            <a:r>
              <a:rPr lang="en-US" sz="9600" dirty="0">
                <a:latin typeface="Tw Cen MT" panose="020B0602020104020603" pitchFamily="34" charset="0"/>
              </a:rPr>
              <a:t>,</a:t>
            </a:r>
            <a:r>
              <a:rPr lang="cs-CZ" sz="9600" dirty="0">
                <a:latin typeface="Tw Cen MT" panose="020B0602020104020603" pitchFamily="34" charset="0"/>
              </a:rPr>
              <a:t> </a:t>
            </a:r>
            <a:r>
              <a:rPr lang="cs-CZ" sz="9600" dirty="0" err="1">
                <a:latin typeface="Tw Cen MT" panose="020B0602020104020603" pitchFamily="34" charset="0"/>
              </a:rPr>
              <a:t>Presale</a:t>
            </a:r>
            <a:r>
              <a:rPr lang="cs-CZ" sz="9600" dirty="0">
                <a:latin typeface="Tw Cen MT" panose="020B0602020104020603" pitchFamily="34" charset="0"/>
              </a:rPr>
              <a:t> Technical </a:t>
            </a:r>
            <a:r>
              <a:rPr lang="cs-CZ" sz="9600" dirty="0" err="1">
                <a:latin typeface="Tw Cen MT" panose="020B0602020104020603" pitchFamily="34" charset="0"/>
              </a:rPr>
              <a:t>Specialist</a:t>
            </a:r>
            <a:endParaRPr lang="cs-CZ" sz="9600" dirty="0">
              <a:latin typeface="Tw Cen MT" panose="020B0602020104020603" pitchFamily="34" charset="0"/>
            </a:endParaRPr>
          </a:p>
          <a:p>
            <a:pPr algn="r"/>
            <a:r>
              <a:rPr lang="cs-CZ" sz="9600" dirty="0">
                <a:latin typeface="Tw Cen MT" panose="020B0602020104020603" pitchFamily="34" charset="0"/>
                <a:hlinkClick r:id="rId2"/>
              </a:rPr>
              <a:t>kozak@axenta.cz</a:t>
            </a:r>
            <a:endParaRPr lang="cs-CZ" sz="9600" dirty="0">
              <a:latin typeface="Tw Cen MT" panose="020B0602020104020603" pitchFamily="34" charset="0"/>
            </a:endParaRPr>
          </a:p>
          <a:p>
            <a:pPr algn="r"/>
            <a:endParaRPr lang="cs-CZ" dirty="0">
              <a:latin typeface="Tw Cen MT" panose="020B0602020104020603" pitchFamily="34" charset="0"/>
            </a:endParaRPr>
          </a:p>
          <a:p>
            <a:pPr algn="r"/>
            <a:endParaRPr lang="sk-SK" dirty="0">
              <a:latin typeface="Tw Cen MT" panose="020B06020201040206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4796260"/>
      </p:ext>
    </p:extLst>
  </p:cSld>
  <p:clrMapOvr>
    <a:masterClrMapping/>
  </p:clrMapOvr>
  <p:transition spd="slow">
    <p:push dir="u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ovéPole 5">
            <a:extLst>
              <a:ext uri="{FF2B5EF4-FFF2-40B4-BE49-F238E27FC236}">
                <a16:creationId xmlns:a16="http://schemas.microsoft.com/office/drawing/2014/main" id="{CA6395D4-C88B-3081-1CF1-4997543A7625}"/>
              </a:ext>
            </a:extLst>
          </p:cNvPr>
          <p:cNvSpPr txBox="1"/>
          <p:nvPr/>
        </p:nvSpPr>
        <p:spPr>
          <a:xfrm>
            <a:off x="426027" y="764151"/>
            <a:ext cx="5754056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tx2"/>
                </a:solidFill>
                <a:latin typeface="Tw Cen MT" panose="020B0602020104020603" pitchFamily="34" charset="-18"/>
              </a:rPr>
              <a:t>Civilní a </a:t>
            </a:r>
            <a:r>
              <a:rPr lang="cs-CZ" sz="2400" dirty="0" err="1">
                <a:solidFill>
                  <a:schemeClr val="tx2"/>
                </a:solidFill>
                <a:latin typeface="Tw Cen MT" panose="020B0602020104020603" pitchFamily="34" charset="-18"/>
              </a:rPr>
              <a:t>Military</a:t>
            </a:r>
            <a:r>
              <a:rPr lang="cs-CZ" sz="2400" dirty="0">
                <a:solidFill>
                  <a:schemeClr val="tx2"/>
                </a:solidFill>
                <a:latin typeface="Tw Cen MT" panose="020B0602020104020603" pitchFamily="34" charset="-18"/>
              </a:rPr>
              <a:t> část oddělena FW v H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tx2"/>
                </a:solidFill>
                <a:latin typeface="Tw Cen MT" panose="020B0602020104020603" pitchFamily="34" charset="-18"/>
              </a:rPr>
              <a:t>Provedena segmentace a řízena komunik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tx2"/>
                </a:solidFill>
                <a:latin typeface="Tw Cen MT" panose="020B0602020104020603" pitchFamily="34" charset="-18"/>
              </a:rPr>
              <a:t>Nasazen Network Access </a:t>
            </a:r>
            <a:r>
              <a:rPr lang="cs-CZ" sz="2400" dirty="0" err="1">
                <a:solidFill>
                  <a:schemeClr val="tx2"/>
                </a:solidFill>
                <a:latin typeface="Tw Cen MT" panose="020B0602020104020603" pitchFamily="34" charset="-18"/>
              </a:rPr>
              <a:t>Control</a:t>
            </a:r>
            <a:endParaRPr lang="cs-CZ" sz="2400" dirty="0">
              <a:solidFill>
                <a:schemeClr val="tx2"/>
              </a:solidFill>
              <a:latin typeface="Tw Cen MT" panose="020B0602020104020603" pitchFamily="34" charset="-1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tx2"/>
                </a:solidFill>
                <a:latin typeface="Tw Cen MT" panose="020B0602020104020603" pitchFamily="34" charset="-18"/>
              </a:rPr>
              <a:t>Přístupy k systému zabezpečeny MFA + VP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tx2"/>
                </a:solidFill>
                <a:latin typeface="Tw Cen MT" panose="020B0602020104020603" pitchFamily="34" charset="-18"/>
              </a:rPr>
              <a:t>Privilegované účty kontrolovány P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tx2"/>
                </a:solidFill>
                <a:latin typeface="Tw Cen MT" panose="020B0602020104020603" pitchFamily="34" charset="-18"/>
              </a:rPr>
              <a:t>Detekce v síti monitorována ND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tx2"/>
                </a:solidFill>
                <a:latin typeface="Tw Cen MT" panose="020B0602020104020603" pitchFamily="34" charset="-18"/>
              </a:rPr>
              <a:t>Koncové stanice a servery zabezpečeny EDR/XD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tx2"/>
                </a:solidFill>
                <a:latin typeface="Tw Cen MT" panose="020B0602020104020603" pitchFamily="34" charset="-18"/>
              </a:rPr>
              <a:t>Logy zaznamenávány a vyhodnocovány LM+SIEM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tx2"/>
                </a:solidFill>
                <a:latin typeface="Tw Cen MT" panose="020B0602020104020603" pitchFamily="34" charset="-18"/>
              </a:rPr>
              <a:t>Detekce zranitelnosti pomocí V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tx2"/>
                </a:solidFill>
                <a:latin typeface="Tw Cen MT" panose="020B0602020104020603" pitchFamily="34" charset="-18"/>
              </a:rPr>
              <a:t>Dohled prostřednictvím SO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tx2"/>
                </a:solidFill>
                <a:latin typeface="Tw Cen MT" panose="020B0602020104020603" pitchFamily="34" charset="-18"/>
              </a:rPr>
              <a:t>Vytvořeny směrnice a procesy</a:t>
            </a:r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dirty="0"/>
          </a:p>
        </p:txBody>
      </p:sp>
      <p:sp>
        <p:nvSpPr>
          <p:cNvPr id="7" name="Nadpis 2">
            <a:extLst>
              <a:ext uri="{FF2B5EF4-FFF2-40B4-BE49-F238E27FC236}">
                <a16:creationId xmlns:a16="http://schemas.microsoft.com/office/drawing/2014/main" id="{AA61AA54-E87B-791A-5365-35A52D09E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619" y="-95297"/>
            <a:ext cx="8350250" cy="884237"/>
          </a:xfrm>
        </p:spPr>
        <p:txBody>
          <a:bodyPr>
            <a:normAutofit/>
          </a:bodyPr>
          <a:lstStyle/>
          <a:p>
            <a:r>
              <a:rPr lang="cs-CZ" dirty="0">
                <a:solidFill>
                  <a:srgbClr val="92D050"/>
                </a:solidFill>
              </a:rPr>
              <a:t>Cílový stav 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2">
            <p14:nvContentPartPr>
              <p14:cNvPr id="9" name="Rukopis 8">
                <a:extLst>
                  <a:ext uri="{FF2B5EF4-FFF2-40B4-BE49-F238E27FC236}">
                    <a16:creationId xmlns:a16="http://schemas.microsoft.com/office/drawing/2014/main" id="{812E6F87-5F46-0B0D-DBF8-4CDBFEA12103}"/>
                  </a:ext>
                </a:extLst>
              </p14:cNvPr>
              <p14:cNvContentPartPr/>
              <p14:nvPr/>
            </p14:nvContentPartPr>
            <p14:xfrm>
              <a:off x="2743250" y="3174012"/>
              <a:ext cx="360" cy="360"/>
            </p14:xfrm>
          </p:contentPart>
        </mc:Choice>
        <mc:Fallback xmlns="">
          <p:pic>
            <p:nvPicPr>
              <p:cNvPr id="9" name="Rukopis 8">
                <a:extLst>
                  <a:ext uri="{FF2B5EF4-FFF2-40B4-BE49-F238E27FC236}">
                    <a16:creationId xmlns:a16="http://schemas.microsoft.com/office/drawing/2014/main" id="{812E6F87-5F46-0B0D-DBF8-4CDBFEA12103}"/>
                  </a:ext>
                </a:extLst>
              </p:cNvPr>
              <p:cNvPicPr/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734250" y="3165012"/>
                <a:ext cx="18000" cy="18000"/>
              </a:xfrm>
              <a:prstGeom prst="rect">
                <a:avLst/>
              </a:prstGeom>
            </p:spPr>
          </p:pic>
        </mc:Fallback>
      </mc:AlternateContent>
      <p:pic>
        <p:nvPicPr>
          <p:cNvPr id="11" name="Obrázek 10">
            <a:extLst>
              <a:ext uri="{FF2B5EF4-FFF2-40B4-BE49-F238E27FC236}">
                <a16:creationId xmlns:a16="http://schemas.microsoft.com/office/drawing/2014/main" id="{FB27661E-DE32-5BF2-7A5B-E75C63A8943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2020" y="523448"/>
            <a:ext cx="6363854" cy="5372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8332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Temp\SNAGHTML20069c1d.PNG">
            <a:extLst>
              <a:ext uri="{FF2B5EF4-FFF2-40B4-BE49-F238E27FC236}">
                <a16:creationId xmlns:a16="http://schemas.microsoft.com/office/drawing/2014/main" id="{37813E4C-8D49-485C-9D97-CCC314EAE6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983" y="1089309"/>
            <a:ext cx="3265067" cy="1723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Zástupný symbol pro obsah 1">
            <a:extLst>
              <a:ext uri="{FF2B5EF4-FFF2-40B4-BE49-F238E27FC236}">
                <a16:creationId xmlns:a16="http://schemas.microsoft.com/office/drawing/2014/main" id="{EF56FF7B-85FF-4ADD-B533-47DEC7B3E2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89524" y="685800"/>
            <a:ext cx="5002476" cy="5301452"/>
          </a:xfrm>
        </p:spPr>
        <p:txBody>
          <a:bodyPr>
            <a:normAutofit fontScale="92500" lnSpcReduction="20000"/>
          </a:bodyPr>
          <a:lstStyle/>
          <a:p>
            <a:r>
              <a:rPr lang="cs-CZ" dirty="0">
                <a:solidFill>
                  <a:schemeClr val="tx1"/>
                </a:solidFill>
              </a:rPr>
              <a:t>S</a:t>
            </a:r>
            <a:r>
              <a:rPr lang="cs-CZ" dirty="0"/>
              <a:t>oftware</a:t>
            </a:r>
            <a:endParaRPr lang="en-US" b="1" dirty="0">
              <a:solidFill>
                <a:srgbClr val="FF0000"/>
              </a:solidFill>
              <a:cs typeface="Calibri" panose="020F0502020204030204" pitchFamily="34" charset="0"/>
            </a:endParaRPr>
          </a:p>
          <a:p>
            <a:pPr lvl="1"/>
            <a:r>
              <a:rPr lang="cs-CZ" sz="2000" dirty="0">
                <a:cs typeface="Calibri" panose="020F0502020204030204" pitchFamily="34" charset="0"/>
              </a:rPr>
              <a:t>Event Management, SIEM, UBA, NDR, EDR, </a:t>
            </a:r>
            <a:r>
              <a:rPr lang="en-US" sz="2000" dirty="0">
                <a:cs typeface="Calibri" panose="020F0502020204030204" pitchFamily="34" charset="0"/>
              </a:rPr>
              <a:t>VA, SOAR, </a:t>
            </a:r>
            <a:r>
              <a:rPr lang="cs-CZ" sz="2000" dirty="0">
                <a:cs typeface="Calibri" panose="020F0502020204030204" pitchFamily="34" charset="0"/>
              </a:rPr>
              <a:t>Provozní monitoring, </a:t>
            </a:r>
            <a:r>
              <a:rPr lang="cs-CZ" sz="2000" dirty="0" err="1">
                <a:cs typeface="Calibri" panose="020F0502020204030204" pitchFamily="34" charset="0"/>
              </a:rPr>
              <a:t>Ticketing</a:t>
            </a:r>
            <a:r>
              <a:rPr lang="cs-CZ" sz="2000" dirty="0">
                <a:cs typeface="Calibri" panose="020F0502020204030204" pitchFamily="34" charset="0"/>
              </a:rPr>
              <a:t>, Dashboardy</a:t>
            </a:r>
          </a:p>
          <a:p>
            <a:r>
              <a:rPr lang="sk-SK" b="1" dirty="0">
                <a:solidFill>
                  <a:schemeClr val="tx1"/>
                </a:solidFill>
                <a:cs typeface="Calibri" panose="020F0502020204030204" pitchFamily="34" charset="0"/>
              </a:rPr>
              <a:t>A</a:t>
            </a:r>
            <a:r>
              <a:rPr lang="sk-SK" b="1" dirty="0">
                <a:cs typeface="Calibri" panose="020F0502020204030204" pitchFamily="34" charset="0"/>
              </a:rPr>
              <a:t>nalytika</a:t>
            </a:r>
            <a:endParaRPr lang="en-US" b="1" dirty="0">
              <a:cs typeface="Calibri" panose="020F0502020204030204" pitchFamily="34" charset="0"/>
            </a:endParaRPr>
          </a:p>
          <a:p>
            <a:pPr lvl="1"/>
            <a:r>
              <a:rPr lang="en-US" sz="20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Hunting Unknown Unknowns</a:t>
            </a:r>
          </a:p>
          <a:p>
            <a:pPr lvl="1"/>
            <a:r>
              <a:rPr lang="en-US" sz="20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Reporting/KPI</a:t>
            </a:r>
          </a:p>
          <a:p>
            <a:pPr lvl="1"/>
            <a:r>
              <a:rPr lang="en-US" sz="20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Threats Exchange/MISP</a:t>
            </a:r>
          </a:p>
          <a:p>
            <a:pPr lvl="1"/>
            <a:r>
              <a:rPr lang="en-US" sz="20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Threats Intelligence</a:t>
            </a:r>
          </a:p>
          <a:p>
            <a:pPr lvl="1"/>
            <a:r>
              <a:rPr lang="en-US" sz="20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Vulnerability Management</a:t>
            </a:r>
          </a:p>
          <a:p>
            <a:pPr lvl="1"/>
            <a:r>
              <a:rPr lang="en-US" sz="20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Runbooks / The Hive</a:t>
            </a:r>
          </a:p>
          <a:p>
            <a:r>
              <a:rPr lang="sk-SK" b="1" dirty="0">
                <a:solidFill>
                  <a:schemeClr val="tx1"/>
                </a:solidFill>
                <a:cs typeface="Calibri" panose="020F0502020204030204" pitchFamily="34" charset="0"/>
              </a:rPr>
              <a:t>L</a:t>
            </a:r>
            <a:r>
              <a:rPr lang="en-US" b="1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id</a:t>
            </a:r>
            <a:r>
              <a:rPr lang="sk-SK" b="1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é</a:t>
            </a:r>
          </a:p>
          <a:p>
            <a:endParaRPr lang="en-US" b="1" dirty="0">
              <a:solidFill>
                <a:schemeClr val="bg2">
                  <a:lumMod val="25000"/>
                </a:schemeClr>
              </a:solidFill>
              <a:cs typeface="Calibri" panose="020F0502020204030204" pitchFamily="34" charset="0"/>
            </a:endParaRPr>
          </a:p>
          <a:p>
            <a:r>
              <a:rPr lang="cs-CZ" dirty="0">
                <a:solidFill>
                  <a:schemeClr val="tx1"/>
                </a:solidFill>
                <a:cs typeface="Calibri" panose="020F0502020204030204" pitchFamily="34" charset="0"/>
              </a:rPr>
              <a:t>P</a:t>
            </a:r>
            <a:r>
              <a:rPr lang="cs-CZ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rocesy</a:t>
            </a:r>
            <a:endParaRPr lang="en-US" b="0" dirty="0">
              <a:solidFill>
                <a:schemeClr val="bg2">
                  <a:lumMod val="25000"/>
                </a:schemeClr>
              </a:solidFill>
              <a:cs typeface="Calibri" panose="020F0502020204030204" pitchFamily="34" charset="0"/>
            </a:endParaRPr>
          </a:p>
          <a:p>
            <a:pPr lvl="1"/>
            <a:r>
              <a:rPr lang="cs-CZ" sz="20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Incident Response, konzultace, tvorba obsahu, vzdělávání</a:t>
            </a:r>
          </a:p>
          <a:p>
            <a:pPr lvl="1"/>
            <a:r>
              <a:rPr lang="en-US" sz="20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CSIRT, Forensics, Purple team</a:t>
            </a:r>
            <a:endParaRPr lang="cs-CZ" sz="2000" dirty="0">
              <a:solidFill>
                <a:schemeClr val="bg2">
                  <a:lumMod val="25000"/>
                </a:schemeClr>
              </a:solidFill>
              <a:cs typeface="Calibri" panose="020F0502020204030204" pitchFamily="34" charset="0"/>
            </a:endParaRPr>
          </a:p>
        </p:txBody>
      </p:sp>
      <p:grpSp>
        <p:nvGrpSpPr>
          <p:cNvPr id="40" name="Skupina 39">
            <a:extLst>
              <a:ext uri="{FF2B5EF4-FFF2-40B4-BE49-F238E27FC236}">
                <a16:creationId xmlns:a16="http://schemas.microsoft.com/office/drawing/2014/main" id="{D51C0FE2-A556-46B6-9EA6-887B3469B461}"/>
              </a:ext>
            </a:extLst>
          </p:cNvPr>
          <p:cNvGrpSpPr/>
          <p:nvPr/>
        </p:nvGrpSpPr>
        <p:grpSpPr>
          <a:xfrm>
            <a:off x="7777993" y="4150443"/>
            <a:ext cx="1703026" cy="512427"/>
            <a:chOff x="6389044" y="7800869"/>
            <a:chExt cx="3200133" cy="1084414"/>
          </a:xfrm>
          <a:solidFill>
            <a:srgbClr val="C00000"/>
          </a:solidFill>
        </p:grpSpPr>
        <p:sp>
          <p:nvSpPr>
            <p:cNvPr id="41" name="Shape 3763">
              <a:extLst>
                <a:ext uri="{FF2B5EF4-FFF2-40B4-BE49-F238E27FC236}">
                  <a16:creationId xmlns:a16="http://schemas.microsoft.com/office/drawing/2014/main" id="{C51703AF-FA9C-4967-BD89-B5309E43FF70}"/>
                </a:ext>
              </a:extLst>
            </p:cNvPr>
            <p:cNvSpPr/>
            <p:nvPr/>
          </p:nvSpPr>
          <p:spPr>
            <a:xfrm>
              <a:off x="8609369" y="7984577"/>
              <a:ext cx="424716" cy="8886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38" y="0"/>
                  </a:moveTo>
                  <a:cubicBezTo>
                    <a:pt x="5538" y="0"/>
                    <a:pt x="5538" y="0"/>
                    <a:pt x="5538" y="0"/>
                  </a:cubicBezTo>
                  <a:cubicBezTo>
                    <a:pt x="1662" y="0"/>
                    <a:pt x="0" y="1580"/>
                    <a:pt x="0" y="2107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141"/>
                    <a:pt x="831" y="10537"/>
                    <a:pt x="1938" y="10537"/>
                  </a:cubicBezTo>
                  <a:cubicBezTo>
                    <a:pt x="3046" y="10537"/>
                    <a:pt x="3600" y="10141"/>
                    <a:pt x="3600" y="9746"/>
                  </a:cubicBezTo>
                  <a:cubicBezTo>
                    <a:pt x="3600" y="3424"/>
                    <a:pt x="3600" y="3424"/>
                    <a:pt x="3600" y="3424"/>
                  </a:cubicBezTo>
                  <a:cubicBezTo>
                    <a:pt x="5262" y="3424"/>
                    <a:pt x="5262" y="3424"/>
                    <a:pt x="5262" y="3424"/>
                  </a:cubicBezTo>
                  <a:cubicBezTo>
                    <a:pt x="5262" y="9483"/>
                    <a:pt x="5262" y="9483"/>
                    <a:pt x="5262" y="9483"/>
                  </a:cubicBezTo>
                  <a:cubicBezTo>
                    <a:pt x="5262" y="9483"/>
                    <a:pt x="5262" y="9615"/>
                    <a:pt x="5262" y="9746"/>
                  </a:cubicBezTo>
                  <a:cubicBezTo>
                    <a:pt x="5262" y="20283"/>
                    <a:pt x="5262" y="20283"/>
                    <a:pt x="5262" y="20283"/>
                  </a:cubicBezTo>
                  <a:cubicBezTo>
                    <a:pt x="5262" y="21073"/>
                    <a:pt x="6369" y="21600"/>
                    <a:pt x="7754" y="21600"/>
                  </a:cubicBezTo>
                  <a:cubicBezTo>
                    <a:pt x="9138" y="21600"/>
                    <a:pt x="10246" y="21073"/>
                    <a:pt x="10246" y="20283"/>
                  </a:cubicBezTo>
                  <a:cubicBezTo>
                    <a:pt x="10246" y="10932"/>
                    <a:pt x="10246" y="10932"/>
                    <a:pt x="10246" y="10932"/>
                  </a:cubicBezTo>
                  <a:cubicBezTo>
                    <a:pt x="11354" y="10932"/>
                    <a:pt x="11354" y="10932"/>
                    <a:pt x="11354" y="10932"/>
                  </a:cubicBezTo>
                  <a:cubicBezTo>
                    <a:pt x="11354" y="20283"/>
                    <a:pt x="11354" y="20283"/>
                    <a:pt x="11354" y="20283"/>
                  </a:cubicBezTo>
                  <a:cubicBezTo>
                    <a:pt x="11354" y="21073"/>
                    <a:pt x="12462" y="21600"/>
                    <a:pt x="13846" y="21600"/>
                  </a:cubicBezTo>
                  <a:cubicBezTo>
                    <a:pt x="15231" y="21600"/>
                    <a:pt x="16338" y="21073"/>
                    <a:pt x="16338" y="20283"/>
                  </a:cubicBezTo>
                  <a:cubicBezTo>
                    <a:pt x="16338" y="3424"/>
                    <a:pt x="16338" y="3424"/>
                    <a:pt x="16338" y="3424"/>
                  </a:cubicBezTo>
                  <a:cubicBezTo>
                    <a:pt x="17723" y="3424"/>
                    <a:pt x="17723" y="3424"/>
                    <a:pt x="17723" y="3424"/>
                  </a:cubicBezTo>
                  <a:cubicBezTo>
                    <a:pt x="17723" y="9746"/>
                    <a:pt x="17723" y="9746"/>
                    <a:pt x="17723" y="9746"/>
                  </a:cubicBezTo>
                  <a:cubicBezTo>
                    <a:pt x="17723" y="10141"/>
                    <a:pt x="18554" y="10537"/>
                    <a:pt x="19662" y="10537"/>
                  </a:cubicBezTo>
                  <a:cubicBezTo>
                    <a:pt x="20769" y="10537"/>
                    <a:pt x="21600" y="10141"/>
                    <a:pt x="21600" y="9746"/>
                  </a:cubicBezTo>
                  <a:cubicBezTo>
                    <a:pt x="21600" y="1976"/>
                    <a:pt x="21600" y="1976"/>
                    <a:pt x="21600" y="1976"/>
                  </a:cubicBezTo>
                  <a:cubicBezTo>
                    <a:pt x="21600" y="1317"/>
                    <a:pt x="19938" y="0"/>
                    <a:pt x="16338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42" name="Shape 3764">
              <a:extLst>
                <a:ext uri="{FF2B5EF4-FFF2-40B4-BE49-F238E27FC236}">
                  <a16:creationId xmlns:a16="http://schemas.microsoft.com/office/drawing/2014/main" id="{4544015E-1423-4160-82CE-E4782F2CF877}"/>
                </a:ext>
              </a:extLst>
            </p:cNvPr>
            <p:cNvSpPr/>
            <p:nvPr/>
          </p:nvSpPr>
          <p:spPr>
            <a:xfrm>
              <a:off x="8740225" y="7800869"/>
              <a:ext cx="169888" cy="1676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43" name="Shape 3765">
              <a:extLst>
                <a:ext uri="{FF2B5EF4-FFF2-40B4-BE49-F238E27FC236}">
                  <a16:creationId xmlns:a16="http://schemas.microsoft.com/office/drawing/2014/main" id="{ED56BA20-DA27-49F8-A98D-B73CD610082B}"/>
                </a:ext>
              </a:extLst>
            </p:cNvPr>
            <p:cNvSpPr/>
            <p:nvPr/>
          </p:nvSpPr>
          <p:spPr>
            <a:xfrm>
              <a:off x="9162907" y="7984578"/>
              <a:ext cx="424716" cy="88869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38" y="0"/>
                  </a:moveTo>
                  <a:cubicBezTo>
                    <a:pt x="5538" y="0"/>
                    <a:pt x="5538" y="0"/>
                    <a:pt x="5538" y="0"/>
                  </a:cubicBezTo>
                  <a:cubicBezTo>
                    <a:pt x="1662" y="0"/>
                    <a:pt x="0" y="1580"/>
                    <a:pt x="0" y="2107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141"/>
                    <a:pt x="831" y="10537"/>
                    <a:pt x="1938" y="10537"/>
                  </a:cubicBezTo>
                  <a:cubicBezTo>
                    <a:pt x="3046" y="10537"/>
                    <a:pt x="3600" y="10141"/>
                    <a:pt x="3600" y="9746"/>
                  </a:cubicBezTo>
                  <a:cubicBezTo>
                    <a:pt x="3600" y="3424"/>
                    <a:pt x="3600" y="3424"/>
                    <a:pt x="3600" y="3424"/>
                  </a:cubicBezTo>
                  <a:cubicBezTo>
                    <a:pt x="5262" y="3424"/>
                    <a:pt x="5262" y="3424"/>
                    <a:pt x="5262" y="3424"/>
                  </a:cubicBezTo>
                  <a:cubicBezTo>
                    <a:pt x="5262" y="9483"/>
                    <a:pt x="5262" y="9483"/>
                    <a:pt x="5262" y="9483"/>
                  </a:cubicBezTo>
                  <a:cubicBezTo>
                    <a:pt x="5262" y="9483"/>
                    <a:pt x="5262" y="9615"/>
                    <a:pt x="5262" y="9746"/>
                  </a:cubicBezTo>
                  <a:cubicBezTo>
                    <a:pt x="5262" y="20283"/>
                    <a:pt x="5262" y="20283"/>
                    <a:pt x="5262" y="20283"/>
                  </a:cubicBezTo>
                  <a:cubicBezTo>
                    <a:pt x="5262" y="21073"/>
                    <a:pt x="6369" y="21600"/>
                    <a:pt x="7754" y="21600"/>
                  </a:cubicBezTo>
                  <a:cubicBezTo>
                    <a:pt x="9138" y="21600"/>
                    <a:pt x="10246" y="21073"/>
                    <a:pt x="10246" y="20283"/>
                  </a:cubicBezTo>
                  <a:cubicBezTo>
                    <a:pt x="10246" y="10932"/>
                    <a:pt x="10246" y="10932"/>
                    <a:pt x="10246" y="10932"/>
                  </a:cubicBezTo>
                  <a:cubicBezTo>
                    <a:pt x="11354" y="10932"/>
                    <a:pt x="11354" y="10932"/>
                    <a:pt x="11354" y="10932"/>
                  </a:cubicBezTo>
                  <a:cubicBezTo>
                    <a:pt x="11354" y="20283"/>
                    <a:pt x="11354" y="20283"/>
                    <a:pt x="11354" y="20283"/>
                  </a:cubicBezTo>
                  <a:cubicBezTo>
                    <a:pt x="11354" y="21073"/>
                    <a:pt x="12462" y="21600"/>
                    <a:pt x="13846" y="21600"/>
                  </a:cubicBezTo>
                  <a:cubicBezTo>
                    <a:pt x="15231" y="21600"/>
                    <a:pt x="16338" y="21073"/>
                    <a:pt x="16338" y="20283"/>
                  </a:cubicBezTo>
                  <a:cubicBezTo>
                    <a:pt x="16338" y="3424"/>
                    <a:pt x="16338" y="3424"/>
                    <a:pt x="16338" y="3424"/>
                  </a:cubicBezTo>
                  <a:cubicBezTo>
                    <a:pt x="17723" y="3424"/>
                    <a:pt x="17723" y="3424"/>
                    <a:pt x="17723" y="3424"/>
                  </a:cubicBezTo>
                  <a:cubicBezTo>
                    <a:pt x="17723" y="9746"/>
                    <a:pt x="17723" y="9746"/>
                    <a:pt x="17723" y="9746"/>
                  </a:cubicBezTo>
                  <a:cubicBezTo>
                    <a:pt x="17723" y="10141"/>
                    <a:pt x="18554" y="10537"/>
                    <a:pt x="19662" y="10537"/>
                  </a:cubicBezTo>
                  <a:cubicBezTo>
                    <a:pt x="20769" y="10537"/>
                    <a:pt x="21600" y="10141"/>
                    <a:pt x="21600" y="9746"/>
                  </a:cubicBezTo>
                  <a:cubicBezTo>
                    <a:pt x="21600" y="1976"/>
                    <a:pt x="21600" y="1976"/>
                    <a:pt x="21600" y="1976"/>
                  </a:cubicBezTo>
                  <a:cubicBezTo>
                    <a:pt x="21600" y="1317"/>
                    <a:pt x="19938" y="0"/>
                    <a:pt x="16338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44" name="Shape 3766">
              <a:extLst>
                <a:ext uri="{FF2B5EF4-FFF2-40B4-BE49-F238E27FC236}">
                  <a16:creationId xmlns:a16="http://schemas.microsoft.com/office/drawing/2014/main" id="{0E506690-0E58-4DB7-91A9-817D1CC86248}"/>
                </a:ext>
              </a:extLst>
            </p:cNvPr>
            <p:cNvSpPr/>
            <p:nvPr/>
          </p:nvSpPr>
          <p:spPr>
            <a:xfrm>
              <a:off x="9293766" y="7800871"/>
              <a:ext cx="169888" cy="1676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45" name="Shape 3779">
              <a:extLst>
                <a:ext uri="{FF2B5EF4-FFF2-40B4-BE49-F238E27FC236}">
                  <a16:creationId xmlns:a16="http://schemas.microsoft.com/office/drawing/2014/main" id="{D0F36DAF-931F-4919-A60E-E04E7411CA5B}"/>
                </a:ext>
              </a:extLst>
            </p:cNvPr>
            <p:cNvSpPr/>
            <p:nvPr/>
          </p:nvSpPr>
          <p:spPr>
            <a:xfrm>
              <a:off x="6389044" y="7984589"/>
              <a:ext cx="424716" cy="88869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38" y="0"/>
                  </a:moveTo>
                  <a:cubicBezTo>
                    <a:pt x="5538" y="0"/>
                    <a:pt x="5538" y="0"/>
                    <a:pt x="5538" y="0"/>
                  </a:cubicBezTo>
                  <a:cubicBezTo>
                    <a:pt x="1662" y="0"/>
                    <a:pt x="0" y="1580"/>
                    <a:pt x="0" y="2107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141"/>
                    <a:pt x="831" y="10537"/>
                    <a:pt x="1938" y="10537"/>
                  </a:cubicBezTo>
                  <a:cubicBezTo>
                    <a:pt x="3046" y="10537"/>
                    <a:pt x="3600" y="10141"/>
                    <a:pt x="3600" y="9746"/>
                  </a:cubicBezTo>
                  <a:cubicBezTo>
                    <a:pt x="3600" y="3424"/>
                    <a:pt x="3600" y="3424"/>
                    <a:pt x="3600" y="3424"/>
                  </a:cubicBezTo>
                  <a:cubicBezTo>
                    <a:pt x="5262" y="3424"/>
                    <a:pt x="5262" y="3424"/>
                    <a:pt x="5262" y="3424"/>
                  </a:cubicBezTo>
                  <a:cubicBezTo>
                    <a:pt x="5262" y="9483"/>
                    <a:pt x="5262" y="9483"/>
                    <a:pt x="5262" y="9483"/>
                  </a:cubicBezTo>
                  <a:cubicBezTo>
                    <a:pt x="5262" y="9483"/>
                    <a:pt x="5262" y="9615"/>
                    <a:pt x="5262" y="9746"/>
                  </a:cubicBezTo>
                  <a:cubicBezTo>
                    <a:pt x="5262" y="20283"/>
                    <a:pt x="5262" y="20283"/>
                    <a:pt x="5262" y="20283"/>
                  </a:cubicBezTo>
                  <a:cubicBezTo>
                    <a:pt x="5262" y="21073"/>
                    <a:pt x="6369" y="21600"/>
                    <a:pt x="7754" y="21600"/>
                  </a:cubicBezTo>
                  <a:cubicBezTo>
                    <a:pt x="9138" y="21600"/>
                    <a:pt x="10246" y="21073"/>
                    <a:pt x="10246" y="20283"/>
                  </a:cubicBezTo>
                  <a:cubicBezTo>
                    <a:pt x="10246" y="10932"/>
                    <a:pt x="10246" y="10932"/>
                    <a:pt x="10246" y="10932"/>
                  </a:cubicBezTo>
                  <a:cubicBezTo>
                    <a:pt x="11354" y="10932"/>
                    <a:pt x="11354" y="10932"/>
                    <a:pt x="11354" y="10932"/>
                  </a:cubicBezTo>
                  <a:cubicBezTo>
                    <a:pt x="11354" y="20283"/>
                    <a:pt x="11354" y="20283"/>
                    <a:pt x="11354" y="20283"/>
                  </a:cubicBezTo>
                  <a:cubicBezTo>
                    <a:pt x="11354" y="21073"/>
                    <a:pt x="12462" y="21600"/>
                    <a:pt x="13846" y="21600"/>
                  </a:cubicBezTo>
                  <a:cubicBezTo>
                    <a:pt x="15231" y="21600"/>
                    <a:pt x="16338" y="21073"/>
                    <a:pt x="16338" y="20283"/>
                  </a:cubicBezTo>
                  <a:cubicBezTo>
                    <a:pt x="16338" y="3424"/>
                    <a:pt x="16338" y="3424"/>
                    <a:pt x="16338" y="3424"/>
                  </a:cubicBezTo>
                  <a:cubicBezTo>
                    <a:pt x="17723" y="3424"/>
                    <a:pt x="17723" y="3424"/>
                    <a:pt x="17723" y="3424"/>
                  </a:cubicBezTo>
                  <a:cubicBezTo>
                    <a:pt x="17723" y="9746"/>
                    <a:pt x="17723" y="9746"/>
                    <a:pt x="17723" y="9746"/>
                  </a:cubicBezTo>
                  <a:cubicBezTo>
                    <a:pt x="17723" y="10141"/>
                    <a:pt x="18554" y="10537"/>
                    <a:pt x="19662" y="10537"/>
                  </a:cubicBezTo>
                  <a:cubicBezTo>
                    <a:pt x="20769" y="10537"/>
                    <a:pt x="21600" y="10141"/>
                    <a:pt x="21600" y="9746"/>
                  </a:cubicBezTo>
                  <a:cubicBezTo>
                    <a:pt x="21600" y="1976"/>
                    <a:pt x="21600" y="1976"/>
                    <a:pt x="21600" y="1976"/>
                  </a:cubicBezTo>
                  <a:cubicBezTo>
                    <a:pt x="21600" y="1317"/>
                    <a:pt x="19938" y="0"/>
                    <a:pt x="16338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46" name="Shape 3780">
              <a:extLst>
                <a:ext uri="{FF2B5EF4-FFF2-40B4-BE49-F238E27FC236}">
                  <a16:creationId xmlns:a16="http://schemas.microsoft.com/office/drawing/2014/main" id="{C36DC379-E282-4E6B-8D51-3C7F02254A0F}"/>
                </a:ext>
              </a:extLst>
            </p:cNvPr>
            <p:cNvSpPr/>
            <p:nvPr/>
          </p:nvSpPr>
          <p:spPr>
            <a:xfrm>
              <a:off x="6519902" y="7800881"/>
              <a:ext cx="169888" cy="1676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47" name="Shape 3781">
              <a:extLst>
                <a:ext uri="{FF2B5EF4-FFF2-40B4-BE49-F238E27FC236}">
                  <a16:creationId xmlns:a16="http://schemas.microsoft.com/office/drawing/2014/main" id="{794DBB92-69EF-445F-8805-7D185AD647F6}"/>
                </a:ext>
              </a:extLst>
            </p:cNvPr>
            <p:cNvSpPr/>
            <p:nvPr/>
          </p:nvSpPr>
          <p:spPr>
            <a:xfrm>
              <a:off x="6942583" y="7984590"/>
              <a:ext cx="424716" cy="888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38" y="0"/>
                  </a:moveTo>
                  <a:cubicBezTo>
                    <a:pt x="5538" y="0"/>
                    <a:pt x="5538" y="0"/>
                    <a:pt x="5538" y="0"/>
                  </a:cubicBezTo>
                  <a:cubicBezTo>
                    <a:pt x="1662" y="0"/>
                    <a:pt x="0" y="1580"/>
                    <a:pt x="0" y="2107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141"/>
                    <a:pt x="831" y="10537"/>
                    <a:pt x="1938" y="10537"/>
                  </a:cubicBezTo>
                  <a:cubicBezTo>
                    <a:pt x="3046" y="10537"/>
                    <a:pt x="3600" y="10141"/>
                    <a:pt x="3600" y="9746"/>
                  </a:cubicBezTo>
                  <a:cubicBezTo>
                    <a:pt x="3600" y="3424"/>
                    <a:pt x="3600" y="3424"/>
                    <a:pt x="3600" y="3424"/>
                  </a:cubicBezTo>
                  <a:cubicBezTo>
                    <a:pt x="5262" y="3424"/>
                    <a:pt x="5262" y="3424"/>
                    <a:pt x="5262" y="3424"/>
                  </a:cubicBezTo>
                  <a:cubicBezTo>
                    <a:pt x="5262" y="9483"/>
                    <a:pt x="5262" y="9483"/>
                    <a:pt x="5262" y="9483"/>
                  </a:cubicBezTo>
                  <a:cubicBezTo>
                    <a:pt x="5262" y="9483"/>
                    <a:pt x="5262" y="9615"/>
                    <a:pt x="5262" y="9746"/>
                  </a:cubicBezTo>
                  <a:cubicBezTo>
                    <a:pt x="5262" y="20283"/>
                    <a:pt x="5262" y="20283"/>
                    <a:pt x="5262" y="20283"/>
                  </a:cubicBezTo>
                  <a:cubicBezTo>
                    <a:pt x="5262" y="21073"/>
                    <a:pt x="6369" y="21600"/>
                    <a:pt x="7754" y="21600"/>
                  </a:cubicBezTo>
                  <a:cubicBezTo>
                    <a:pt x="9138" y="21600"/>
                    <a:pt x="10246" y="21073"/>
                    <a:pt x="10246" y="20283"/>
                  </a:cubicBezTo>
                  <a:cubicBezTo>
                    <a:pt x="10246" y="10932"/>
                    <a:pt x="10246" y="10932"/>
                    <a:pt x="10246" y="10932"/>
                  </a:cubicBezTo>
                  <a:cubicBezTo>
                    <a:pt x="11354" y="10932"/>
                    <a:pt x="11354" y="10932"/>
                    <a:pt x="11354" y="10932"/>
                  </a:cubicBezTo>
                  <a:cubicBezTo>
                    <a:pt x="11354" y="20283"/>
                    <a:pt x="11354" y="20283"/>
                    <a:pt x="11354" y="20283"/>
                  </a:cubicBezTo>
                  <a:cubicBezTo>
                    <a:pt x="11354" y="21073"/>
                    <a:pt x="12462" y="21600"/>
                    <a:pt x="13846" y="21600"/>
                  </a:cubicBezTo>
                  <a:cubicBezTo>
                    <a:pt x="15231" y="21600"/>
                    <a:pt x="16338" y="21073"/>
                    <a:pt x="16338" y="20283"/>
                  </a:cubicBezTo>
                  <a:cubicBezTo>
                    <a:pt x="16338" y="3424"/>
                    <a:pt x="16338" y="3424"/>
                    <a:pt x="16338" y="3424"/>
                  </a:cubicBezTo>
                  <a:cubicBezTo>
                    <a:pt x="17723" y="3424"/>
                    <a:pt x="17723" y="3424"/>
                    <a:pt x="17723" y="3424"/>
                  </a:cubicBezTo>
                  <a:cubicBezTo>
                    <a:pt x="17723" y="9746"/>
                    <a:pt x="17723" y="9746"/>
                    <a:pt x="17723" y="9746"/>
                  </a:cubicBezTo>
                  <a:cubicBezTo>
                    <a:pt x="17723" y="10141"/>
                    <a:pt x="18554" y="10537"/>
                    <a:pt x="19662" y="10537"/>
                  </a:cubicBezTo>
                  <a:cubicBezTo>
                    <a:pt x="20769" y="10537"/>
                    <a:pt x="21600" y="10141"/>
                    <a:pt x="21600" y="9746"/>
                  </a:cubicBezTo>
                  <a:cubicBezTo>
                    <a:pt x="21600" y="1976"/>
                    <a:pt x="21600" y="1976"/>
                    <a:pt x="21600" y="1976"/>
                  </a:cubicBezTo>
                  <a:cubicBezTo>
                    <a:pt x="21600" y="1317"/>
                    <a:pt x="19938" y="0"/>
                    <a:pt x="16338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48" name="Shape 3782">
              <a:extLst>
                <a:ext uri="{FF2B5EF4-FFF2-40B4-BE49-F238E27FC236}">
                  <a16:creationId xmlns:a16="http://schemas.microsoft.com/office/drawing/2014/main" id="{4AA1BCAB-5860-4DBD-AFB4-77F750DA5D51}"/>
                </a:ext>
              </a:extLst>
            </p:cNvPr>
            <p:cNvSpPr/>
            <p:nvPr/>
          </p:nvSpPr>
          <p:spPr>
            <a:xfrm>
              <a:off x="7073441" y="7800883"/>
              <a:ext cx="169888" cy="1676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49" name="Shape 3783">
              <a:extLst>
                <a:ext uri="{FF2B5EF4-FFF2-40B4-BE49-F238E27FC236}">
                  <a16:creationId xmlns:a16="http://schemas.microsoft.com/office/drawing/2014/main" id="{7C66063F-B73B-4741-B25E-963C4A7658D1}"/>
                </a:ext>
              </a:extLst>
            </p:cNvPr>
            <p:cNvSpPr/>
            <p:nvPr/>
          </p:nvSpPr>
          <p:spPr>
            <a:xfrm>
              <a:off x="7498214" y="7984592"/>
              <a:ext cx="424716" cy="888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38" y="0"/>
                  </a:moveTo>
                  <a:cubicBezTo>
                    <a:pt x="5538" y="0"/>
                    <a:pt x="5538" y="0"/>
                    <a:pt x="5538" y="0"/>
                  </a:cubicBezTo>
                  <a:cubicBezTo>
                    <a:pt x="1662" y="0"/>
                    <a:pt x="0" y="1580"/>
                    <a:pt x="0" y="2107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141"/>
                    <a:pt x="831" y="10537"/>
                    <a:pt x="1938" y="10537"/>
                  </a:cubicBezTo>
                  <a:cubicBezTo>
                    <a:pt x="3046" y="10537"/>
                    <a:pt x="3600" y="10141"/>
                    <a:pt x="3600" y="9746"/>
                  </a:cubicBezTo>
                  <a:cubicBezTo>
                    <a:pt x="3600" y="3424"/>
                    <a:pt x="3600" y="3424"/>
                    <a:pt x="3600" y="3424"/>
                  </a:cubicBezTo>
                  <a:cubicBezTo>
                    <a:pt x="5262" y="3424"/>
                    <a:pt x="5262" y="3424"/>
                    <a:pt x="5262" y="3424"/>
                  </a:cubicBezTo>
                  <a:cubicBezTo>
                    <a:pt x="5262" y="9483"/>
                    <a:pt x="5262" y="9483"/>
                    <a:pt x="5262" y="9483"/>
                  </a:cubicBezTo>
                  <a:cubicBezTo>
                    <a:pt x="5262" y="9483"/>
                    <a:pt x="5262" y="9615"/>
                    <a:pt x="5262" y="9746"/>
                  </a:cubicBezTo>
                  <a:cubicBezTo>
                    <a:pt x="5262" y="20283"/>
                    <a:pt x="5262" y="20283"/>
                    <a:pt x="5262" y="20283"/>
                  </a:cubicBezTo>
                  <a:cubicBezTo>
                    <a:pt x="5262" y="21073"/>
                    <a:pt x="6369" y="21600"/>
                    <a:pt x="7754" y="21600"/>
                  </a:cubicBezTo>
                  <a:cubicBezTo>
                    <a:pt x="9138" y="21600"/>
                    <a:pt x="10246" y="21073"/>
                    <a:pt x="10246" y="20283"/>
                  </a:cubicBezTo>
                  <a:cubicBezTo>
                    <a:pt x="10246" y="10932"/>
                    <a:pt x="10246" y="10932"/>
                    <a:pt x="10246" y="10932"/>
                  </a:cubicBezTo>
                  <a:cubicBezTo>
                    <a:pt x="11354" y="10932"/>
                    <a:pt x="11354" y="10932"/>
                    <a:pt x="11354" y="10932"/>
                  </a:cubicBezTo>
                  <a:cubicBezTo>
                    <a:pt x="11354" y="20283"/>
                    <a:pt x="11354" y="20283"/>
                    <a:pt x="11354" y="20283"/>
                  </a:cubicBezTo>
                  <a:cubicBezTo>
                    <a:pt x="11354" y="21073"/>
                    <a:pt x="12462" y="21600"/>
                    <a:pt x="13846" y="21600"/>
                  </a:cubicBezTo>
                  <a:cubicBezTo>
                    <a:pt x="15231" y="21600"/>
                    <a:pt x="16338" y="21073"/>
                    <a:pt x="16338" y="20283"/>
                  </a:cubicBezTo>
                  <a:cubicBezTo>
                    <a:pt x="16338" y="3424"/>
                    <a:pt x="16338" y="3424"/>
                    <a:pt x="16338" y="3424"/>
                  </a:cubicBezTo>
                  <a:cubicBezTo>
                    <a:pt x="17723" y="3424"/>
                    <a:pt x="17723" y="3424"/>
                    <a:pt x="17723" y="3424"/>
                  </a:cubicBezTo>
                  <a:cubicBezTo>
                    <a:pt x="17723" y="9746"/>
                    <a:pt x="17723" y="9746"/>
                    <a:pt x="17723" y="9746"/>
                  </a:cubicBezTo>
                  <a:cubicBezTo>
                    <a:pt x="17723" y="10141"/>
                    <a:pt x="18554" y="10537"/>
                    <a:pt x="19662" y="10537"/>
                  </a:cubicBezTo>
                  <a:cubicBezTo>
                    <a:pt x="20769" y="10537"/>
                    <a:pt x="21600" y="10141"/>
                    <a:pt x="21600" y="9746"/>
                  </a:cubicBezTo>
                  <a:cubicBezTo>
                    <a:pt x="21600" y="1976"/>
                    <a:pt x="21600" y="1976"/>
                    <a:pt x="21600" y="1976"/>
                  </a:cubicBezTo>
                  <a:cubicBezTo>
                    <a:pt x="21600" y="1317"/>
                    <a:pt x="19938" y="0"/>
                    <a:pt x="16338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50" name="Shape 3784">
              <a:extLst>
                <a:ext uri="{FF2B5EF4-FFF2-40B4-BE49-F238E27FC236}">
                  <a16:creationId xmlns:a16="http://schemas.microsoft.com/office/drawing/2014/main" id="{ADAC2577-A2DC-4E01-B59C-60742472EB20}"/>
                </a:ext>
              </a:extLst>
            </p:cNvPr>
            <p:cNvSpPr/>
            <p:nvPr/>
          </p:nvSpPr>
          <p:spPr>
            <a:xfrm>
              <a:off x="7629072" y="7800884"/>
              <a:ext cx="169888" cy="1676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51" name="Shape 3785">
              <a:extLst>
                <a:ext uri="{FF2B5EF4-FFF2-40B4-BE49-F238E27FC236}">
                  <a16:creationId xmlns:a16="http://schemas.microsoft.com/office/drawing/2014/main" id="{DFF33572-41A7-4769-A54C-D78F29F51F66}"/>
                </a:ext>
              </a:extLst>
            </p:cNvPr>
            <p:cNvSpPr/>
            <p:nvPr/>
          </p:nvSpPr>
          <p:spPr>
            <a:xfrm>
              <a:off x="8051753" y="7984593"/>
              <a:ext cx="424716" cy="8886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38" y="0"/>
                  </a:moveTo>
                  <a:cubicBezTo>
                    <a:pt x="5538" y="0"/>
                    <a:pt x="5538" y="0"/>
                    <a:pt x="5538" y="0"/>
                  </a:cubicBezTo>
                  <a:cubicBezTo>
                    <a:pt x="1662" y="0"/>
                    <a:pt x="0" y="1580"/>
                    <a:pt x="0" y="2107"/>
                  </a:cubicBezTo>
                  <a:cubicBezTo>
                    <a:pt x="0" y="9746"/>
                    <a:pt x="0" y="9746"/>
                    <a:pt x="0" y="9746"/>
                  </a:cubicBezTo>
                  <a:cubicBezTo>
                    <a:pt x="0" y="10141"/>
                    <a:pt x="831" y="10537"/>
                    <a:pt x="1938" y="10537"/>
                  </a:cubicBezTo>
                  <a:cubicBezTo>
                    <a:pt x="3046" y="10537"/>
                    <a:pt x="3600" y="10141"/>
                    <a:pt x="3600" y="9746"/>
                  </a:cubicBezTo>
                  <a:cubicBezTo>
                    <a:pt x="3600" y="3424"/>
                    <a:pt x="3600" y="3424"/>
                    <a:pt x="3600" y="3424"/>
                  </a:cubicBezTo>
                  <a:cubicBezTo>
                    <a:pt x="5262" y="3424"/>
                    <a:pt x="5262" y="3424"/>
                    <a:pt x="5262" y="3424"/>
                  </a:cubicBezTo>
                  <a:cubicBezTo>
                    <a:pt x="5262" y="9483"/>
                    <a:pt x="5262" y="9483"/>
                    <a:pt x="5262" y="9483"/>
                  </a:cubicBezTo>
                  <a:cubicBezTo>
                    <a:pt x="5262" y="9483"/>
                    <a:pt x="5262" y="9615"/>
                    <a:pt x="5262" y="9746"/>
                  </a:cubicBezTo>
                  <a:cubicBezTo>
                    <a:pt x="5262" y="20283"/>
                    <a:pt x="5262" y="20283"/>
                    <a:pt x="5262" y="20283"/>
                  </a:cubicBezTo>
                  <a:cubicBezTo>
                    <a:pt x="5262" y="21073"/>
                    <a:pt x="6369" y="21600"/>
                    <a:pt x="7754" y="21600"/>
                  </a:cubicBezTo>
                  <a:cubicBezTo>
                    <a:pt x="9138" y="21600"/>
                    <a:pt x="10246" y="21073"/>
                    <a:pt x="10246" y="20283"/>
                  </a:cubicBezTo>
                  <a:cubicBezTo>
                    <a:pt x="10246" y="10932"/>
                    <a:pt x="10246" y="10932"/>
                    <a:pt x="10246" y="10932"/>
                  </a:cubicBezTo>
                  <a:cubicBezTo>
                    <a:pt x="11354" y="10932"/>
                    <a:pt x="11354" y="10932"/>
                    <a:pt x="11354" y="10932"/>
                  </a:cubicBezTo>
                  <a:cubicBezTo>
                    <a:pt x="11354" y="20283"/>
                    <a:pt x="11354" y="20283"/>
                    <a:pt x="11354" y="20283"/>
                  </a:cubicBezTo>
                  <a:cubicBezTo>
                    <a:pt x="11354" y="21073"/>
                    <a:pt x="12462" y="21600"/>
                    <a:pt x="13846" y="21600"/>
                  </a:cubicBezTo>
                  <a:cubicBezTo>
                    <a:pt x="15231" y="21600"/>
                    <a:pt x="16338" y="21073"/>
                    <a:pt x="16338" y="20283"/>
                  </a:cubicBezTo>
                  <a:cubicBezTo>
                    <a:pt x="16338" y="3424"/>
                    <a:pt x="16338" y="3424"/>
                    <a:pt x="16338" y="3424"/>
                  </a:cubicBezTo>
                  <a:cubicBezTo>
                    <a:pt x="17723" y="3424"/>
                    <a:pt x="17723" y="3424"/>
                    <a:pt x="17723" y="3424"/>
                  </a:cubicBezTo>
                  <a:cubicBezTo>
                    <a:pt x="17723" y="9746"/>
                    <a:pt x="17723" y="9746"/>
                    <a:pt x="17723" y="9746"/>
                  </a:cubicBezTo>
                  <a:cubicBezTo>
                    <a:pt x="17723" y="10141"/>
                    <a:pt x="18554" y="10537"/>
                    <a:pt x="19662" y="10537"/>
                  </a:cubicBezTo>
                  <a:cubicBezTo>
                    <a:pt x="20769" y="10537"/>
                    <a:pt x="21600" y="10141"/>
                    <a:pt x="21600" y="9746"/>
                  </a:cubicBezTo>
                  <a:cubicBezTo>
                    <a:pt x="21600" y="1976"/>
                    <a:pt x="21600" y="1976"/>
                    <a:pt x="21600" y="1976"/>
                  </a:cubicBezTo>
                  <a:cubicBezTo>
                    <a:pt x="21600" y="1317"/>
                    <a:pt x="19938" y="0"/>
                    <a:pt x="16338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sp>
          <p:nvSpPr>
            <p:cNvPr id="52" name="Shape 3786">
              <a:extLst>
                <a:ext uri="{FF2B5EF4-FFF2-40B4-BE49-F238E27FC236}">
                  <a16:creationId xmlns:a16="http://schemas.microsoft.com/office/drawing/2014/main" id="{2C043639-16F2-4CD6-B442-15A4825A9502}"/>
                </a:ext>
              </a:extLst>
            </p:cNvPr>
            <p:cNvSpPr/>
            <p:nvPr/>
          </p:nvSpPr>
          <p:spPr>
            <a:xfrm>
              <a:off x="8182613" y="7800886"/>
              <a:ext cx="169888" cy="1676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lvl="0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2401"/>
            </a:p>
          </p:txBody>
        </p:sp>
        <p:grpSp>
          <p:nvGrpSpPr>
            <p:cNvPr id="53" name="Group 3840">
              <a:extLst>
                <a:ext uri="{FF2B5EF4-FFF2-40B4-BE49-F238E27FC236}">
                  <a16:creationId xmlns:a16="http://schemas.microsoft.com/office/drawing/2014/main" id="{345A3D23-EB23-4ECD-A7CA-BC0618A0C97F}"/>
                </a:ext>
              </a:extLst>
            </p:cNvPr>
            <p:cNvGrpSpPr/>
            <p:nvPr/>
          </p:nvGrpSpPr>
          <p:grpSpPr>
            <a:xfrm>
              <a:off x="8610923" y="7805615"/>
              <a:ext cx="424716" cy="1072408"/>
              <a:chOff x="0" y="0"/>
              <a:chExt cx="590244" cy="1489964"/>
            </a:xfrm>
            <a:grpFill/>
          </p:grpSpPr>
          <p:sp>
            <p:nvSpPr>
              <p:cNvPr id="69" name="Shape 3838">
                <a:extLst>
                  <a:ext uri="{FF2B5EF4-FFF2-40B4-BE49-F238E27FC236}">
                    <a16:creationId xmlns:a16="http://schemas.microsoft.com/office/drawing/2014/main" id="{4AECF9C0-C1BF-440F-B58C-3D2D1F99428A}"/>
                  </a:ext>
                </a:extLst>
              </p:cNvPr>
              <p:cNvSpPr/>
              <p:nvPr/>
            </p:nvSpPr>
            <p:spPr>
              <a:xfrm>
                <a:off x="0" y="255240"/>
                <a:ext cx="590245" cy="123472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38" y="0"/>
                    </a:moveTo>
                    <a:cubicBezTo>
                      <a:pt x="5538" y="0"/>
                      <a:pt x="5538" y="0"/>
                      <a:pt x="5538" y="0"/>
                    </a:cubicBezTo>
                    <a:cubicBezTo>
                      <a:pt x="1662" y="0"/>
                      <a:pt x="0" y="1580"/>
                      <a:pt x="0" y="2107"/>
                    </a:cubicBezTo>
                    <a:cubicBezTo>
                      <a:pt x="0" y="9746"/>
                      <a:pt x="0" y="9746"/>
                      <a:pt x="0" y="9746"/>
                    </a:cubicBezTo>
                    <a:cubicBezTo>
                      <a:pt x="0" y="10141"/>
                      <a:pt x="831" y="10537"/>
                      <a:pt x="1938" y="10537"/>
                    </a:cubicBezTo>
                    <a:cubicBezTo>
                      <a:pt x="3046" y="10537"/>
                      <a:pt x="3600" y="10141"/>
                      <a:pt x="3600" y="9746"/>
                    </a:cubicBezTo>
                    <a:cubicBezTo>
                      <a:pt x="3600" y="3424"/>
                      <a:pt x="3600" y="3424"/>
                      <a:pt x="3600" y="3424"/>
                    </a:cubicBezTo>
                    <a:cubicBezTo>
                      <a:pt x="5262" y="3424"/>
                      <a:pt x="5262" y="3424"/>
                      <a:pt x="5262" y="3424"/>
                    </a:cubicBezTo>
                    <a:cubicBezTo>
                      <a:pt x="5262" y="9483"/>
                      <a:pt x="5262" y="9483"/>
                      <a:pt x="5262" y="9483"/>
                    </a:cubicBezTo>
                    <a:cubicBezTo>
                      <a:pt x="5262" y="9483"/>
                      <a:pt x="5262" y="9615"/>
                      <a:pt x="5262" y="9746"/>
                    </a:cubicBezTo>
                    <a:cubicBezTo>
                      <a:pt x="5262" y="20283"/>
                      <a:pt x="5262" y="20283"/>
                      <a:pt x="5262" y="20283"/>
                    </a:cubicBezTo>
                    <a:cubicBezTo>
                      <a:pt x="5262" y="21073"/>
                      <a:pt x="6369" y="21600"/>
                      <a:pt x="7754" y="21600"/>
                    </a:cubicBezTo>
                    <a:cubicBezTo>
                      <a:pt x="9138" y="21600"/>
                      <a:pt x="10246" y="21073"/>
                      <a:pt x="10246" y="20283"/>
                    </a:cubicBezTo>
                    <a:cubicBezTo>
                      <a:pt x="10246" y="10932"/>
                      <a:pt x="10246" y="10932"/>
                      <a:pt x="10246" y="10932"/>
                    </a:cubicBezTo>
                    <a:cubicBezTo>
                      <a:pt x="11354" y="10932"/>
                      <a:pt x="11354" y="10932"/>
                      <a:pt x="11354" y="10932"/>
                    </a:cubicBezTo>
                    <a:cubicBezTo>
                      <a:pt x="11354" y="20283"/>
                      <a:pt x="11354" y="20283"/>
                      <a:pt x="11354" y="20283"/>
                    </a:cubicBezTo>
                    <a:cubicBezTo>
                      <a:pt x="11354" y="21073"/>
                      <a:pt x="12462" y="21600"/>
                      <a:pt x="13846" y="21600"/>
                    </a:cubicBezTo>
                    <a:cubicBezTo>
                      <a:pt x="15231" y="21600"/>
                      <a:pt x="16338" y="21073"/>
                      <a:pt x="16338" y="20283"/>
                    </a:cubicBezTo>
                    <a:cubicBezTo>
                      <a:pt x="16338" y="3424"/>
                      <a:pt x="16338" y="3424"/>
                      <a:pt x="16338" y="3424"/>
                    </a:cubicBezTo>
                    <a:cubicBezTo>
                      <a:pt x="17723" y="3424"/>
                      <a:pt x="17723" y="3424"/>
                      <a:pt x="17723" y="3424"/>
                    </a:cubicBezTo>
                    <a:cubicBezTo>
                      <a:pt x="17723" y="9746"/>
                      <a:pt x="17723" y="9746"/>
                      <a:pt x="17723" y="9746"/>
                    </a:cubicBezTo>
                    <a:cubicBezTo>
                      <a:pt x="17723" y="10141"/>
                      <a:pt x="18554" y="10537"/>
                      <a:pt x="19662" y="10537"/>
                    </a:cubicBezTo>
                    <a:cubicBezTo>
                      <a:pt x="20769" y="10537"/>
                      <a:pt x="21600" y="10141"/>
                      <a:pt x="21600" y="9746"/>
                    </a:cubicBezTo>
                    <a:cubicBezTo>
                      <a:pt x="21600" y="1976"/>
                      <a:pt x="21600" y="1976"/>
                      <a:pt x="21600" y="1976"/>
                    </a:cubicBezTo>
                    <a:cubicBezTo>
                      <a:pt x="21600" y="1317"/>
                      <a:pt x="19938" y="0"/>
                      <a:pt x="16338" y="0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  <p:sp>
            <p:nvSpPr>
              <p:cNvPr id="70" name="Shape 3839">
                <a:extLst>
                  <a:ext uri="{FF2B5EF4-FFF2-40B4-BE49-F238E27FC236}">
                    <a16:creationId xmlns:a16="http://schemas.microsoft.com/office/drawing/2014/main" id="{765310C6-7293-471E-90E1-B094B88ACEA1}"/>
                  </a:ext>
                </a:extLst>
              </p:cNvPr>
              <p:cNvSpPr/>
              <p:nvPr/>
            </p:nvSpPr>
            <p:spPr>
              <a:xfrm>
                <a:off x="181859" y="0"/>
                <a:ext cx="236100" cy="2329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</p:grpSp>
        <p:grpSp>
          <p:nvGrpSpPr>
            <p:cNvPr id="54" name="Group 3843">
              <a:extLst>
                <a:ext uri="{FF2B5EF4-FFF2-40B4-BE49-F238E27FC236}">
                  <a16:creationId xmlns:a16="http://schemas.microsoft.com/office/drawing/2014/main" id="{96B518F4-ADF1-4C86-B6AF-9A8A024CF397}"/>
                </a:ext>
              </a:extLst>
            </p:cNvPr>
            <p:cNvGrpSpPr/>
            <p:nvPr/>
          </p:nvGrpSpPr>
          <p:grpSpPr>
            <a:xfrm>
              <a:off x="9164461" y="7805615"/>
              <a:ext cx="424716" cy="1072408"/>
              <a:chOff x="0" y="0"/>
              <a:chExt cx="590244" cy="1489964"/>
            </a:xfrm>
            <a:grpFill/>
          </p:grpSpPr>
          <p:sp>
            <p:nvSpPr>
              <p:cNvPr id="67" name="Shape 3841">
                <a:extLst>
                  <a:ext uri="{FF2B5EF4-FFF2-40B4-BE49-F238E27FC236}">
                    <a16:creationId xmlns:a16="http://schemas.microsoft.com/office/drawing/2014/main" id="{EF20F670-86AC-411B-9074-B98EDE1F8F0B}"/>
                  </a:ext>
                </a:extLst>
              </p:cNvPr>
              <p:cNvSpPr/>
              <p:nvPr/>
            </p:nvSpPr>
            <p:spPr>
              <a:xfrm>
                <a:off x="0" y="255240"/>
                <a:ext cx="590245" cy="123472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38" y="0"/>
                    </a:moveTo>
                    <a:cubicBezTo>
                      <a:pt x="5538" y="0"/>
                      <a:pt x="5538" y="0"/>
                      <a:pt x="5538" y="0"/>
                    </a:cubicBezTo>
                    <a:cubicBezTo>
                      <a:pt x="1662" y="0"/>
                      <a:pt x="0" y="1580"/>
                      <a:pt x="0" y="2107"/>
                    </a:cubicBezTo>
                    <a:cubicBezTo>
                      <a:pt x="0" y="9746"/>
                      <a:pt x="0" y="9746"/>
                      <a:pt x="0" y="9746"/>
                    </a:cubicBezTo>
                    <a:cubicBezTo>
                      <a:pt x="0" y="10141"/>
                      <a:pt x="831" y="10537"/>
                      <a:pt x="1938" y="10537"/>
                    </a:cubicBezTo>
                    <a:cubicBezTo>
                      <a:pt x="3046" y="10537"/>
                      <a:pt x="3600" y="10141"/>
                      <a:pt x="3600" y="9746"/>
                    </a:cubicBezTo>
                    <a:cubicBezTo>
                      <a:pt x="3600" y="3424"/>
                      <a:pt x="3600" y="3424"/>
                      <a:pt x="3600" y="3424"/>
                    </a:cubicBezTo>
                    <a:cubicBezTo>
                      <a:pt x="5262" y="3424"/>
                      <a:pt x="5262" y="3424"/>
                      <a:pt x="5262" y="3424"/>
                    </a:cubicBezTo>
                    <a:cubicBezTo>
                      <a:pt x="5262" y="9483"/>
                      <a:pt x="5262" y="9483"/>
                      <a:pt x="5262" y="9483"/>
                    </a:cubicBezTo>
                    <a:cubicBezTo>
                      <a:pt x="5262" y="9483"/>
                      <a:pt x="5262" y="9615"/>
                      <a:pt x="5262" y="9746"/>
                    </a:cubicBezTo>
                    <a:cubicBezTo>
                      <a:pt x="5262" y="20283"/>
                      <a:pt x="5262" y="20283"/>
                      <a:pt x="5262" y="20283"/>
                    </a:cubicBezTo>
                    <a:cubicBezTo>
                      <a:pt x="5262" y="21073"/>
                      <a:pt x="6369" y="21600"/>
                      <a:pt x="7754" y="21600"/>
                    </a:cubicBezTo>
                    <a:cubicBezTo>
                      <a:pt x="9138" y="21600"/>
                      <a:pt x="10246" y="21073"/>
                      <a:pt x="10246" y="20283"/>
                    </a:cubicBezTo>
                    <a:cubicBezTo>
                      <a:pt x="10246" y="10932"/>
                      <a:pt x="10246" y="10932"/>
                      <a:pt x="10246" y="10932"/>
                    </a:cubicBezTo>
                    <a:cubicBezTo>
                      <a:pt x="11354" y="10932"/>
                      <a:pt x="11354" y="10932"/>
                      <a:pt x="11354" y="10932"/>
                    </a:cubicBezTo>
                    <a:cubicBezTo>
                      <a:pt x="11354" y="20283"/>
                      <a:pt x="11354" y="20283"/>
                      <a:pt x="11354" y="20283"/>
                    </a:cubicBezTo>
                    <a:cubicBezTo>
                      <a:pt x="11354" y="21073"/>
                      <a:pt x="12462" y="21600"/>
                      <a:pt x="13846" y="21600"/>
                    </a:cubicBezTo>
                    <a:cubicBezTo>
                      <a:pt x="15231" y="21600"/>
                      <a:pt x="16338" y="21073"/>
                      <a:pt x="16338" y="20283"/>
                    </a:cubicBezTo>
                    <a:cubicBezTo>
                      <a:pt x="16338" y="3424"/>
                      <a:pt x="16338" y="3424"/>
                      <a:pt x="16338" y="3424"/>
                    </a:cubicBezTo>
                    <a:cubicBezTo>
                      <a:pt x="17723" y="3424"/>
                      <a:pt x="17723" y="3424"/>
                      <a:pt x="17723" y="3424"/>
                    </a:cubicBezTo>
                    <a:cubicBezTo>
                      <a:pt x="17723" y="9746"/>
                      <a:pt x="17723" y="9746"/>
                      <a:pt x="17723" y="9746"/>
                    </a:cubicBezTo>
                    <a:cubicBezTo>
                      <a:pt x="17723" y="10141"/>
                      <a:pt x="18554" y="10537"/>
                      <a:pt x="19662" y="10537"/>
                    </a:cubicBezTo>
                    <a:cubicBezTo>
                      <a:pt x="20769" y="10537"/>
                      <a:pt x="21600" y="10141"/>
                      <a:pt x="21600" y="9746"/>
                    </a:cubicBezTo>
                    <a:cubicBezTo>
                      <a:pt x="21600" y="1976"/>
                      <a:pt x="21600" y="1976"/>
                      <a:pt x="21600" y="1976"/>
                    </a:cubicBezTo>
                    <a:cubicBezTo>
                      <a:pt x="21600" y="1317"/>
                      <a:pt x="19938" y="0"/>
                      <a:pt x="16338" y="0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  <p:sp>
            <p:nvSpPr>
              <p:cNvPr id="68" name="Shape 3842">
                <a:extLst>
                  <a:ext uri="{FF2B5EF4-FFF2-40B4-BE49-F238E27FC236}">
                    <a16:creationId xmlns:a16="http://schemas.microsoft.com/office/drawing/2014/main" id="{71209F61-5226-4372-ADF7-5C65CE835678}"/>
                  </a:ext>
                </a:extLst>
              </p:cNvPr>
              <p:cNvSpPr/>
              <p:nvPr/>
            </p:nvSpPr>
            <p:spPr>
              <a:xfrm>
                <a:off x="181859" y="0"/>
                <a:ext cx="236100" cy="2329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</p:grpSp>
        <p:grpSp>
          <p:nvGrpSpPr>
            <p:cNvPr id="55" name="Group 3864">
              <a:extLst>
                <a:ext uri="{FF2B5EF4-FFF2-40B4-BE49-F238E27FC236}">
                  <a16:creationId xmlns:a16="http://schemas.microsoft.com/office/drawing/2014/main" id="{7CFFF94C-6105-4247-B9C2-182BF3FFDBAE}"/>
                </a:ext>
              </a:extLst>
            </p:cNvPr>
            <p:cNvGrpSpPr/>
            <p:nvPr/>
          </p:nvGrpSpPr>
          <p:grpSpPr>
            <a:xfrm>
              <a:off x="6390598" y="7805615"/>
              <a:ext cx="424716" cy="1072408"/>
              <a:chOff x="0" y="0"/>
              <a:chExt cx="590244" cy="1489964"/>
            </a:xfrm>
            <a:grpFill/>
          </p:grpSpPr>
          <p:sp>
            <p:nvSpPr>
              <p:cNvPr id="65" name="Shape 3862">
                <a:extLst>
                  <a:ext uri="{FF2B5EF4-FFF2-40B4-BE49-F238E27FC236}">
                    <a16:creationId xmlns:a16="http://schemas.microsoft.com/office/drawing/2014/main" id="{596A01F4-3F40-4FFC-BD3D-6AEE6629B86D}"/>
                  </a:ext>
                </a:extLst>
              </p:cNvPr>
              <p:cNvSpPr/>
              <p:nvPr/>
            </p:nvSpPr>
            <p:spPr>
              <a:xfrm>
                <a:off x="0" y="255240"/>
                <a:ext cx="590245" cy="123472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38" y="0"/>
                    </a:moveTo>
                    <a:cubicBezTo>
                      <a:pt x="5538" y="0"/>
                      <a:pt x="5538" y="0"/>
                      <a:pt x="5538" y="0"/>
                    </a:cubicBezTo>
                    <a:cubicBezTo>
                      <a:pt x="1662" y="0"/>
                      <a:pt x="0" y="1580"/>
                      <a:pt x="0" y="2107"/>
                    </a:cubicBezTo>
                    <a:cubicBezTo>
                      <a:pt x="0" y="9746"/>
                      <a:pt x="0" y="9746"/>
                      <a:pt x="0" y="9746"/>
                    </a:cubicBezTo>
                    <a:cubicBezTo>
                      <a:pt x="0" y="10141"/>
                      <a:pt x="831" y="10537"/>
                      <a:pt x="1938" y="10537"/>
                    </a:cubicBezTo>
                    <a:cubicBezTo>
                      <a:pt x="3046" y="10537"/>
                      <a:pt x="3600" y="10141"/>
                      <a:pt x="3600" y="9746"/>
                    </a:cubicBezTo>
                    <a:cubicBezTo>
                      <a:pt x="3600" y="3424"/>
                      <a:pt x="3600" y="3424"/>
                      <a:pt x="3600" y="3424"/>
                    </a:cubicBezTo>
                    <a:cubicBezTo>
                      <a:pt x="5262" y="3424"/>
                      <a:pt x="5262" y="3424"/>
                      <a:pt x="5262" y="3424"/>
                    </a:cubicBezTo>
                    <a:cubicBezTo>
                      <a:pt x="5262" y="9483"/>
                      <a:pt x="5262" y="9483"/>
                      <a:pt x="5262" y="9483"/>
                    </a:cubicBezTo>
                    <a:cubicBezTo>
                      <a:pt x="5262" y="9483"/>
                      <a:pt x="5262" y="9615"/>
                      <a:pt x="5262" y="9746"/>
                    </a:cubicBezTo>
                    <a:cubicBezTo>
                      <a:pt x="5262" y="20283"/>
                      <a:pt x="5262" y="20283"/>
                      <a:pt x="5262" y="20283"/>
                    </a:cubicBezTo>
                    <a:cubicBezTo>
                      <a:pt x="5262" y="21073"/>
                      <a:pt x="6369" y="21600"/>
                      <a:pt x="7754" y="21600"/>
                    </a:cubicBezTo>
                    <a:cubicBezTo>
                      <a:pt x="9138" y="21600"/>
                      <a:pt x="10246" y="21073"/>
                      <a:pt x="10246" y="20283"/>
                    </a:cubicBezTo>
                    <a:cubicBezTo>
                      <a:pt x="10246" y="10932"/>
                      <a:pt x="10246" y="10932"/>
                      <a:pt x="10246" y="10932"/>
                    </a:cubicBezTo>
                    <a:cubicBezTo>
                      <a:pt x="11354" y="10932"/>
                      <a:pt x="11354" y="10932"/>
                      <a:pt x="11354" y="10932"/>
                    </a:cubicBezTo>
                    <a:cubicBezTo>
                      <a:pt x="11354" y="20283"/>
                      <a:pt x="11354" y="20283"/>
                      <a:pt x="11354" y="20283"/>
                    </a:cubicBezTo>
                    <a:cubicBezTo>
                      <a:pt x="11354" y="21073"/>
                      <a:pt x="12462" y="21600"/>
                      <a:pt x="13846" y="21600"/>
                    </a:cubicBezTo>
                    <a:cubicBezTo>
                      <a:pt x="15231" y="21600"/>
                      <a:pt x="16338" y="21073"/>
                      <a:pt x="16338" y="20283"/>
                    </a:cubicBezTo>
                    <a:cubicBezTo>
                      <a:pt x="16338" y="3424"/>
                      <a:pt x="16338" y="3424"/>
                      <a:pt x="16338" y="3424"/>
                    </a:cubicBezTo>
                    <a:cubicBezTo>
                      <a:pt x="17723" y="3424"/>
                      <a:pt x="17723" y="3424"/>
                      <a:pt x="17723" y="3424"/>
                    </a:cubicBezTo>
                    <a:cubicBezTo>
                      <a:pt x="17723" y="9746"/>
                      <a:pt x="17723" y="9746"/>
                      <a:pt x="17723" y="9746"/>
                    </a:cubicBezTo>
                    <a:cubicBezTo>
                      <a:pt x="17723" y="10141"/>
                      <a:pt x="18554" y="10537"/>
                      <a:pt x="19662" y="10537"/>
                    </a:cubicBezTo>
                    <a:cubicBezTo>
                      <a:pt x="20769" y="10537"/>
                      <a:pt x="21600" y="10141"/>
                      <a:pt x="21600" y="9746"/>
                    </a:cubicBezTo>
                    <a:cubicBezTo>
                      <a:pt x="21600" y="1976"/>
                      <a:pt x="21600" y="1976"/>
                      <a:pt x="21600" y="1976"/>
                    </a:cubicBezTo>
                    <a:cubicBezTo>
                      <a:pt x="21600" y="1317"/>
                      <a:pt x="19938" y="0"/>
                      <a:pt x="16338" y="0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  <p:sp>
            <p:nvSpPr>
              <p:cNvPr id="66" name="Shape 3863">
                <a:extLst>
                  <a:ext uri="{FF2B5EF4-FFF2-40B4-BE49-F238E27FC236}">
                    <a16:creationId xmlns:a16="http://schemas.microsoft.com/office/drawing/2014/main" id="{D5C62739-7E7E-4095-A0FA-4ECC477F1060}"/>
                  </a:ext>
                </a:extLst>
              </p:cNvPr>
              <p:cNvSpPr/>
              <p:nvPr/>
            </p:nvSpPr>
            <p:spPr>
              <a:xfrm>
                <a:off x="181859" y="0"/>
                <a:ext cx="236100" cy="2329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</p:grpSp>
        <p:grpSp>
          <p:nvGrpSpPr>
            <p:cNvPr id="56" name="Group 3867">
              <a:extLst>
                <a:ext uri="{FF2B5EF4-FFF2-40B4-BE49-F238E27FC236}">
                  <a16:creationId xmlns:a16="http://schemas.microsoft.com/office/drawing/2014/main" id="{C002557A-CE16-40D7-81F6-3FC1AD9F9CDC}"/>
                </a:ext>
              </a:extLst>
            </p:cNvPr>
            <p:cNvGrpSpPr/>
            <p:nvPr/>
          </p:nvGrpSpPr>
          <p:grpSpPr>
            <a:xfrm>
              <a:off x="6944137" y="7805615"/>
              <a:ext cx="424716" cy="1072408"/>
              <a:chOff x="0" y="0"/>
              <a:chExt cx="590244" cy="1489964"/>
            </a:xfrm>
            <a:grpFill/>
          </p:grpSpPr>
          <p:sp>
            <p:nvSpPr>
              <p:cNvPr id="63" name="Shape 3865">
                <a:extLst>
                  <a:ext uri="{FF2B5EF4-FFF2-40B4-BE49-F238E27FC236}">
                    <a16:creationId xmlns:a16="http://schemas.microsoft.com/office/drawing/2014/main" id="{0C10662F-7172-4AD8-9B4E-E1FAE74F30EA}"/>
                  </a:ext>
                </a:extLst>
              </p:cNvPr>
              <p:cNvSpPr/>
              <p:nvPr/>
            </p:nvSpPr>
            <p:spPr>
              <a:xfrm>
                <a:off x="0" y="255240"/>
                <a:ext cx="590245" cy="123472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38" y="0"/>
                    </a:moveTo>
                    <a:cubicBezTo>
                      <a:pt x="5538" y="0"/>
                      <a:pt x="5538" y="0"/>
                      <a:pt x="5538" y="0"/>
                    </a:cubicBezTo>
                    <a:cubicBezTo>
                      <a:pt x="1662" y="0"/>
                      <a:pt x="0" y="1580"/>
                      <a:pt x="0" y="2107"/>
                    </a:cubicBezTo>
                    <a:cubicBezTo>
                      <a:pt x="0" y="9746"/>
                      <a:pt x="0" y="9746"/>
                      <a:pt x="0" y="9746"/>
                    </a:cubicBezTo>
                    <a:cubicBezTo>
                      <a:pt x="0" y="10141"/>
                      <a:pt x="831" y="10537"/>
                      <a:pt x="1938" y="10537"/>
                    </a:cubicBezTo>
                    <a:cubicBezTo>
                      <a:pt x="3046" y="10537"/>
                      <a:pt x="3600" y="10141"/>
                      <a:pt x="3600" y="9746"/>
                    </a:cubicBezTo>
                    <a:cubicBezTo>
                      <a:pt x="3600" y="3424"/>
                      <a:pt x="3600" y="3424"/>
                      <a:pt x="3600" y="3424"/>
                    </a:cubicBezTo>
                    <a:cubicBezTo>
                      <a:pt x="5262" y="3424"/>
                      <a:pt x="5262" y="3424"/>
                      <a:pt x="5262" y="3424"/>
                    </a:cubicBezTo>
                    <a:cubicBezTo>
                      <a:pt x="5262" y="9483"/>
                      <a:pt x="5262" y="9483"/>
                      <a:pt x="5262" y="9483"/>
                    </a:cubicBezTo>
                    <a:cubicBezTo>
                      <a:pt x="5262" y="9483"/>
                      <a:pt x="5262" y="9615"/>
                      <a:pt x="5262" y="9746"/>
                    </a:cubicBezTo>
                    <a:cubicBezTo>
                      <a:pt x="5262" y="20283"/>
                      <a:pt x="5262" y="20283"/>
                      <a:pt x="5262" y="20283"/>
                    </a:cubicBezTo>
                    <a:cubicBezTo>
                      <a:pt x="5262" y="21073"/>
                      <a:pt x="6369" y="21600"/>
                      <a:pt x="7754" y="21600"/>
                    </a:cubicBezTo>
                    <a:cubicBezTo>
                      <a:pt x="9138" y="21600"/>
                      <a:pt x="10246" y="21073"/>
                      <a:pt x="10246" y="20283"/>
                    </a:cubicBezTo>
                    <a:cubicBezTo>
                      <a:pt x="10246" y="10932"/>
                      <a:pt x="10246" y="10932"/>
                      <a:pt x="10246" y="10932"/>
                    </a:cubicBezTo>
                    <a:cubicBezTo>
                      <a:pt x="11354" y="10932"/>
                      <a:pt x="11354" y="10932"/>
                      <a:pt x="11354" y="10932"/>
                    </a:cubicBezTo>
                    <a:cubicBezTo>
                      <a:pt x="11354" y="20283"/>
                      <a:pt x="11354" y="20283"/>
                      <a:pt x="11354" y="20283"/>
                    </a:cubicBezTo>
                    <a:cubicBezTo>
                      <a:pt x="11354" y="21073"/>
                      <a:pt x="12462" y="21600"/>
                      <a:pt x="13846" y="21600"/>
                    </a:cubicBezTo>
                    <a:cubicBezTo>
                      <a:pt x="15231" y="21600"/>
                      <a:pt x="16338" y="21073"/>
                      <a:pt x="16338" y="20283"/>
                    </a:cubicBezTo>
                    <a:cubicBezTo>
                      <a:pt x="16338" y="3424"/>
                      <a:pt x="16338" y="3424"/>
                      <a:pt x="16338" y="3424"/>
                    </a:cubicBezTo>
                    <a:cubicBezTo>
                      <a:pt x="17723" y="3424"/>
                      <a:pt x="17723" y="3424"/>
                      <a:pt x="17723" y="3424"/>
                    </a:cubicBezTo>
                    <a:cubicBezTo>
                      <a:pt x="17723" y="9746"/>
                      <a:pt x="17723" y="9746"/>
                      <a:pt x="17723" y="9746"/>
                    </a:cubicBezTo>
                    <a:cubicBezTo>
                      <a:pt x="17723" y="10141"/>
                      <a:pt x="18554" y="10537"/>
                      <a:pt x="19662" y="10537"/>
                    </a:cubicBezTo>
                    <a:cubicBezTo>
                      <a:pt x="20769" y="10537"/>
                      <a:pt x="21600" y="10141"/>
                      <a:pt x="21600" y="9746"/>
                    </a:cubicBezTo>
                    <a:cubicBezTo>
                      <a:pt x="21600" y="1976"/>
                      <a:pt x="21600" y="1976"/>
                      <a:pt x="21600" y="1976"/>
                    </a:cubicBezTo>
                    <a:cubicBezTo>
                      <a:pt x="21600" y="1317"/>
                      <a:pt x="19938" y="0"/>
                      <a:pt x="16338" y="0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  <p:sp>
            <p:nvSpPr>
              <p:cNvPr id="64" name="Shape 3866">
                <a:extLst>
                  <a:ext uri="{FF2B5EF4-FFF2-40B4-BE49-F238E27FC236}">
                    <a16:creationId xmlns:a16="http://schemas.microsoft.com/office/drawing/2014/main" id="{EE07B82C-BB87-4B83-9355-D2533D5AB41A}"/>
                  </a:ext>
                </a:extLst>
              </p:cNvPr>
              <p:cNvSpPr/>
              <p:nvPr/>
            </p:nvSpPr>
            <p:spPr>
              <a:xfrm>
                <a:off x="181859" y="0"/>
                <a:ext cx="236100" cy="2329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</p:grpSp>
        <p:grpSp>
          <p:nvGrpSpPr>
            <p:cNvPr id="57" name="Group 3870">
              <a:extLst>
                <a:ext uri="{FF2B5EF4-FFF2-40B4-BE49-F238E27FC236}">
                  <a16:creationId xmlns:a16="http://schemas.microsoft.com/office/drawing/2014/main" id="{51AB5EA6-E3A7-4CE6-BE99-AF502D8A96B3}"/>
                </a:ext>
              </a:extLst>
            </p:cNvPr>
            <p:cNvGrpSpPr/>
            <p:nvPr/>
          </p:nvGrpSpPr>
          <p:grpSpPr>
            <a:xfrm>
              <a:off x="7499767" y="7805615"/>
              <a:ext cx="424717" cy="1072408"/>
              <a:chOff x="0" y="0"/>
              <a:chExt cx="590244" cy="1489964"/>
            </a:xfrm>
            <a:grpFill/>
          </p:grpSpPr>
          <p:sp>
            <p:nvSpPr>
              <p:cNvPr id="61" name="Shape 3868">
                <a:extLst>
                  <a:ext uri="{FF2B5EF4-FFF2-40B4-BE49-F238E27FC236}">
                    <a16:creationId xmlns:a16="http://schemas.microsoft.com/office/drawing/2014/main" id="{ECB497A0-FCBF-4C05-9F02-465FD4EBCDBD}"/>
                  </a:ext>
                </a:extLst>
              </p:cNvPr>
              <p:cNvSpPr/>
              <p:nvPr/>
            </p:nvSpPr>
            <p:spPr>
              <a:xfrm>
                <a:off x="0" y="255240"/>
                <a:ext cx="590245" cy="123472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38" y="0"/>
                    </a:moveTo>
                    <a:cubicBezTo>
                      <a:pt x="5538" y="0"/>
                      <a:pt x="5538" y="0"/>
                      <a:pt x="5538" y="0"/>
                    </a:cubicBezTo>
                    <a:cubicBezTo>
                      <a:pt x="1662" y="0"/>
                      <a:pt x="0" y="1580"/>
                      <a:pt x="0" y="2107"/>
                    </a:cubicBezTo>
                    <a:cubicBezTo>
                      <a:pt x="0" y="9746"/>
                      <a:pt x="0" y="9746"/>
                      <a:pt x="0" y="9746"/>
                    </a:cubicBezTo>
                    <a:cubicBezTo>
                      <a:pt x="0" y="10141"/>
                      <a:pt x="831" y="10537"/>
                      <a:pt x="1938" y="10537"/>
                    </a:cubicBezTo>
                    <a:cubicBezTo>
                      <a:pt x="3046" y="10537"/>
                      <a:pt x="3600" y="10141"/>
                      <a:pt x="3600" y="9746"/>
                    </a:cubicBezTo>
                    <a:cubicBezTo>
                      <a:pt x="3600" y="3424"/>
                      <a:pt x="3600" y="3424"/>
                      <a:pt x="3600" y="3424"/>
                    </a:cubicBezTo>
                    <a:cubicBezTo>
                      <a:pt x="5262" y="3424"/>
                      <a:pt x="5262" y="3424"/>
                      <a:pt x="5262" y="3424"/>
                    </a:cubicBezTo>
                    <a:cubicBezTo>
                      <a:pt x="5262" y="9483"/>
                      <a:pt x="5262" y="9483"/>
                      <a:pt x="5262" y="9483"/>
                    </a:cubicBezTo>
                    <a:cubicBezTo>
                      <a:pt x="5262" y="9483"/>
                      <a:pt x="5262" y="9615"/>
                      <a:pt x="5262" y="9746"/>
                    </a:cubicBezTo>
                    <a:cubicBezTo>
                      <a:pt x="5262" y="20283"/>
                      <a:pt x="5262" y="20283"/>
                      <a:pt x="5262" y="20283"/>
                    </a:cubicBezTo>
                    <a:cubicBezTo>
                      <a:pt x="5262" y="21073"/>
                      <a:pt x="6369" y="21600"/>
                      <a:pt x="7754" y="21600"/>
                    </a:cubicBezTo>
                    <a:cubicBezTo>
                      <a:pt x="9138" y="21600"/>
                      <a:pt x="10246" y="21073"/>
                      <a:pt x="10246" y="20283"/>
                    </a:cubicBezTo>
                    <a:cubicBezTo>
                      <a:pt x="10246" y="10932"/>
                      <a:pt x="10246" y="10932"/>
                      <a:pt x="10246" y="10932"/>
                    </a:cubicBezTo>
                    <a:cubicBezTo>
                      <a:pt x="11354" y="10932"/>
                      <a:pt x="11354" y="10932"/>
                      <a:pt x="11354" y="10932"/>
                    </a:cubicBezTo>
                    <a:cubicBezTo>
                      <a:pt x="11354" y="20283"/>
                      <a:pt x="11354" y="20283"/>
                      <a:pt x="11354" y="20283"/>
                    </a:cubicBezTo>
                    <a:cubicBezTo>
                      <a:pt x="11354" y="21073"/>
                      <a:pt x="12462" y="21600"/>
                      <a:pt x="13846" y="21600"/>
                    </a:cubicBezTo>
                    <a:cubicBezTo>
                      <a:pt x="15231" y="21600"/>
                      <a:pt x="16338" y="21073"/>
                      <a:pt x="16338" y="20283"/>
                    </a:cubicBezTo>
                    <a:cubicBezTo>
                      <a:pt x="16338" y="3424"/>
                      <a:pt x="16338" y="3424"/>
                      <a:pt x="16338" y="3424"/>
                    </a:cubicBezTo>
                    <a:cubicBezTo>
                      <a:pt x="17723" y="3424"/>
                      <a:pt x="17723" y="3424"/>
                      <a:pt x="17723" y="3424"/>
                    </a:cubicBezTo>
                    <a:cubicBezTo>
                      <a:pt x="17723" y="9746"/>
                      <a:pt x="17723" y="9746"/>
                      <a:pt x="17723" y="9746"/>
                    </a:cubicBezTo>
                    <a:cubicBezTo>
                      <a:pt x="17723" y="10141"/>
                      <a:pt x="18554" y="10537"/>
                      <a:pt x="19662" y="10537"/>
                    </a:cubicBezTo>
                    <a:cubicBezTo>
                      <a:pt x="20769" y="10537"/>
                      <a:pt x="21600" y="10141"/>
                      <a:pt x="21600" y="9746"/>
                    </a:cubicBezTo>
                    <a:cubicBezTo>
                      <a:pt x="21600" y="1976"/>
                      <a:pt x="21600" y="1976"/>
                      <a:pt x="21600" y="1976"/>
                    </a:cubicBezTo>
                    <a:cubicBezTo>
                      <a:pt x="21600" y="1317"/>
                      <a:pt x="19938" y="0"/>
                      <a:pt x="16338" y="0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  <p:sp>
            <p:nvSpPr>
              <p:cNvPr id="62" name="Shape 3869">
                <a:extLst>
                  <a:ext uri="{FF2B5EF4-FFF2-40B4-BE49-F238E27FC236}">
                    <a16:creationId xmlns:a16="http://schemas.microsoft.com/office/drawing/2014/main" id="{D09509AA-27EC-49FE-AD29-7655CA7E760F}"/>
                  </a:ext>
                </a:extLst>
              </p:cNvPr>
              <p:cNvSpPr/>
              <p:nvPr/>
            </p:nvSpPr>
            <p:spPr>
              <a:xfrm>
                <a:off x="181859" y="0"/>
                <a:ext cx="236100" cy="2329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</p:grpSp>
        <p:grpSp>
          <p:nvGrpSpPr>
            <p:cNvPr id="58" name="Group 3873">
              <a:extLst>
                <a:ext uri="{FF2B5EF4-FFF2-40B4-BE49-F238E27FC236}">
                  <a16:creationId xmlns:a16="http://schemas.microsoft.com/office/drawing/2014/main" id="{FC4C557C-C725-4082-AACC-C1F6FCD8A392}"/>
                </a:ext>
              </a:extLst>
            </p:cNvPr>
            <p:cNvGrpSpPr/>
            <p:nvPr/>
          </p:nvGrpSpPr>
          <p:grpSpPr>
            <a:xfrm>
              <a:off x="8053307" y="7805613"/>
              <a:ext cx="424716" cy="1079670"/>
              <a:chOff x="0" y="0"/>
              <a:chExt cx="590245" cy="1500051"/>
            </a:xfrm>
            <a:grpFill/>
          </p:grpSpPr>
          <p:sp>
            <p:nvSpPr>
              <p:cNvPr id="59" name="Shape 3871">
                <a:extLst>
                  <a:ext uri="{FF2B5EF4-FFF2-40B4-BE49-F238E27FC236}">
                    <a16:creationId xmlns:a16="http://schemas.microsoft.com/office/drawing/2014/main" id="{66229E19-803B-4CF1-AFCA-863EDA00BD07}"/>
                  </a:ext>
                </a:extLst>
              </p:cNvPr>
              <p:cNvSpPr/>
              <p:nvPr/>
            </p:nvSpPr>
            <p:spPr>
              <a:xfrm>
                <a:off x="0" y="265322"/>
                <a:ext cx="590245" cy="12347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38" y="0"/>
                    </a:moveTo>
                    <a:cubicBezTo>
                      <a:pt x="5538" y="0"/>
                      <a:pt x="5538" y="0"/>
                      <a:pt x="5538" y="0"/>
                    </a:cubicBezTo>
                    <a:cubicBezTo>
                      <a:pt x="1662" y="0"/>
                      <a:pt x="0" y="1580"/>
                      <a:pt x="0" y="2107"/>
                    </a:cubicBezTo>
                    <a:cubicBezTo>
                      <a:pt x="0" y="9746"/>
                      <a:pt x="0" y="9746"/>
                      <a:pt x="0" y="9746"/>
                    </a:cubicBezTo>
                    <a:cubicBezTo>
                      <a:pt x="0" y="10141"/>
                      <a:pt x="831" y="10537"/>
                      <a:pt x="1938" y="10537"/>
                    </a:cubicBezTo>
                    <a:cubicBezTo>
                      <a:pt x="3046" y="10537"/>
                      <a:pt x="3600" y="10141"/>
                      <a:pt x="3600" y="9746"/>
                    </a:cubicBezTo>
                    <a:cubicBezTo>
                      <a:pt x="3600" y="3424"/>
                      <a:pt x="3600" y="3424"/>
                      <a:pt x="3600" y="3424"/>
                    </a:cubicBezTo>
                    <a:cubicBezTo>
                      <a:pt x="5262" y="3424"/>
                      <a:pt x="5262" y="3424"/>
                      <a:pt x="5262" y="3424"/>
                    </a:cubicBezTo>
                    <a:cubicBezTo>
                      <a:pt x="5262" y="9483"/>
                      <a:pt x="5262" y="9483"/>
                      <a:pt x="5262" y="9483"/>
                    </a:cubicBezTo>
                    <a:cubicBezTo>
                      <a:pt x="5262" y="9483"/>
                      <a:pt x="5262" y="9615"/>
                      <a:pt x="5262" y="9746"/>
                    </a:cubicBezTo>
                    <a:cubicBezTo>
                      <a:pt x="5262" y="20283"/>
                      <a:pt x="5262" y="20283"/>
                      <a:pt x="5262" y="20283"/>
                    </a:cubicBezTo>
                    <a:cubicBezTo>
                      <a:pt x="5262" y="21073"/>
                      <a:pt x="6369" y="21600"/>
                      <a:pt x="7754" y="21600"/>
                    </a:cubicBezTo>
                    <a:cubicBezTo>
                      <a:pt x="9138" y="21600"/>
                      <a:pt x="10246" y="21073"/>
                      <a:pt x="10246" y="20283"/>
                    </a:cubicBezTo>
                    <a:cubicBezTo>
                      <a:pt x="10246" y="10932"/>
                      <a:pt x="10246" y="10932"/>
                      <a:pt x="10246" y="10932"/>
                    </a:cubicBezTo>
                    <a:cubicBezTo>
                      <a:pt x="11354" y="10932"/>
                      <a:pt x="11354" y="10932"/>
                      <a:pt x="11354" y="10932"/>
                    </a:cubicBezTo>
                    <a:cubicBezTo>
                      <a:pt x="11354" y="20283"/>
                      <a:pt x="11354" y="20283"/>
                      <a:pt x="11354" y="20283"/>
                    </a:cubicBezTo>
                    <a:cubicBezTo>
                      <a:pt x="11354" y="21073"/>
                      <a:pt x="12462" y="21600"/>
                      <a:pt x="13846" y="21600"/>
                    </a:cubicBezTo>
                    <a:cubicBezTo>
                      <a:pt x="15231" y="21600"/>
                      <a:pt x="16338" y="21073"/>
                      <a:pt x="16338" y="20283"/>
                    </a:cubicBezTo>
                    <a:cubicBezTo>
                      <a:pt x="16338" y="3424"/>
                      <a:pt x="16338" y="3424"/>
                      <a:pt x="16338" y="3424"/>
                    </a:cubicBezTo>
                    <a:cubicBezTo>
                      <a:pt x="17723" y="3424"/>
                      <a:pt x="17723" y="3424"/>
                      <a:pt x="17723" y="3424"/>
                    </a:cubicBezTo>
                    <a:cubicBezTo>
                      <a:pt x="17723" y="9746"/>
                      <a:pt x="17723" y="9746"/>
                      <a:pt x="17723" y="9746"/>
                    </a:cubicBezTo>
                    <a:cubicBezTo>
                      <a:pt x="17723" y="10141"/>
                      <a:pt x="18554" y="10537"/>
                      <a:pt x="19662" y="10537"/>
                    </a:cubicBezTo>
                    <a:cubicBezTo>
                      <a:pt x="20769" y="10537"/>
                      <a:pt x="21600" y="10141"/>
                      <a:pt x="21600" y="9746"/>
                    </a:cubicBezTo>
                    <a:cubicBezTo>
                      <a:pt x="21600" y="1976"/>
                      <a:pt x="21600" y="1976"/>
                      <a:pt x="21600" y="1976"/>
                    </a:cubicBezTo>
                    <a:cubicBezTo>
                      <a:pt x="21600" y="1317"/>
                      <a:pt x="19938" y="0"/>
                      <a:pt x="16338" y="0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  <p:sp>
            <p:nvSpPr>
              <p:cNvPr id="60" name="Shape 3872">
                <a:extLst>
                  <a:ext uri="{FF2B5EF4-FFF2-40B4-BE49-F238E27FC236}">
                    <a16:creationId xmlns:a16="http://schemas.microsoft.com/office/drawing/2014/main" id="{2D4FFFD3-6709-475D-80AA-04D95C508A56}"/>
                  </a:ext>
                </a:extLst>
              </p:cNvPr>
              <p:cNvSpPr/>
              <p:nvPr/>
            </p:nvSpPr>
            <p:spPr>
              <a:xfrm>
                <a:off x="181859" y="0"/>
                <a:ext cx="236100" cy="2329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</a:path>
                </a:pathLst>
              </a:custGeom>
              <a:grpFill/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lvl="0">
                  <a:defRPr sz="320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2401"/>
              </a:p>
            </p:txBody>
          </p:sp>
        </p:grp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7E19CD35-A9FB-41B4-B171-75F3D5852EEC}"/>
              </a:ext>
            </a:extLst>
          </p:cNvPr>
          <p:cNvSpPr txBox="1"/>
          <p:nvPr/>
        </p:nvSpPr>
        <p:spPr>
          <a:xfrm>
            <a:off x="2310640" y="861066"/>
            <a:ext cx="458828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i="1">
                <a:solidFill>
                  <a:schemeClr val="tx2"/>
                </a:solidFill>
                <a:latin typeface="Tw Cen MT" panose="020B0602020104020603" pitchFamily="34" charset="-18"/>
              </a:rPr>
              <a:t>I</a:t>
            </a:r>
            <a:r>
              <a:rPr lang="en-US" sz="2000" b="1" i="1">
                <a:latin typeface="Tw Cen MT" panose="020B0602020104020603" pitchFamily="34" charset="-18"/>
              </a:rPr>
              <a:t>ntelligence-driven</a:t>
            </a:r>
            <a:br>
              <a:rPr lang="en-US" sz="2000" b="1" i="1">
                <a:latin typeface="Tw Cen MT" panose="020B0602020104020603" pitchFamily="34" charset="-18"/>
              </a:rPr>
            </a:br>
            <a:r>
              <a:rPr lang="en-US" sz="2000" b="1" i="1">
                <a:latin typeface="Tw Cen MT" panose="020B0602020104020603" pitchFamily="34" charset="-18"/>
              </a:rPr>
              <a:t>	</a:t>
            </a:r>
            <a:r>
              <a:rPr lang="en-US" sz="2000" b="1" i="1">
                <a:solidFill>
                  <a:schemeClr val="tx2"/>
                </a:solidFill>
                <a:latin typeface="Tw Cen MT" panose="020B0602020104020603" pitchFamily="34" charset="-18"/>
              </a:rPr>
              <a:t>F</a:t>
            </a:r>
            <a:r>
              <a:rPr lang="en-US" sz="2000" b="1" i="1">
                <a:latin typeface="Tw Cen MT" panose="020B0602020104020603" pitchFamily="34" charset="-18"/>
              </a:rPr>
              <a:t>ull-</a:t>
            </a:r>
            <a:r>
              <a:rPr lang="en-US" sz="2000" b="1" i="1" err="1">
                <a:latin typeface="Tw Cen MT" panose="020B0602020104020603" pitchFamily="34" charset="-18"/>
              </a:rPr>
              <a:t>cyberchain</a:t>
            </a:r>
            <a:br>
              <a:rPr lang="en-US" sz="2000" b="1" i="1">
                <a:latin typeface="Tw Cen MT" panose="020B0602020104020603" pitchFamily="34" charset="-18"/>
              </a:rPr>
            </a:br>
            <a:r>
              <a:rPr lang="en-US" sz="2000" b="1" i="1">
                <a:latin typeface="Tw Cen MT" panose="020B0602020104020603" pitchFamily="34" charset="-18"/>
              </a:rPr>
              <a:t>		</a:t>
            </a:r>
            <a:r>
              <a:rPr lang="en-US" sz="2000" b="1" i="1">
                <a:solidFill>
                  <a:schemeClr val="tx2"/>
                </a:solidFill>
                <a:latin typeface="Tw Cen MT" panose="020B0602020104020603" pitchFamily="34" charset="-18"/>
              </a:rPr>
              <a:t>T</a:t>
            </a:r>
            <a:r>
              <a:rPr lang="en-US" sz="2000" b="1" i="1">
                <a:latin typeface="Tw Cen MT" panose="020B0602020104020603" pitchFamily="34" charset="-18"/>
              </a:rPr>
              <a:t>ime &amp; cost-effectiv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3C49C4-6A2C-44CF-BFE9-762062E76F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754" y="2923978"/>
            <a:ext cx="7229723" cy="3206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40246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532CB35F-10DF-439B-AB11-E730DE6B1F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6004" y="989592"/>
            <a:ext cx="2635743" cy="883812"/>
          </a:xfrm>
        </p:spPr>
        <p:txBody>
          <a:bodyPr>
            <a:normAutofit fontScale="90000"/>
          </a:bodyPr>
          <a:lstStyle/>
          <a:p>
            <a:r>
              <a:rPr lang="cs-CZ" dirty="0"/>
              <a:t>Děkujeme</a:t>
            </a:r>
          </a:p>
        </p:txBody>
      </p:sp>
      <p:grpSp>
        <p:nvGrpSpPr>
          <p:cNvPr id="6" name="Group 10">
            <a:extLst>
              <a:ext uri="{FF2B5EF4-FFF2-40B4-BE49-F238E27FC236}">
                <a16:creationId xmlns:a16="http://schemas.microsoft.com/office/drawing/2014/main" id="{BD477CA4-BD91-446B-903D-6BBBC86466D1}"/>
              </a:ext>
            </a:extLst>
          </p:cNvPr>
          <p:cNvGrpSpPr/>
          <p:nvPr/>
        </p:nvGrpSpPr>
        <p:grpSpPr>
          <a:xfrm>
            <a:off x="755193" y="613456"/>
            <a:ext cx="10730933" cy="5263148"/>
            <a:chOff x="-637776" y="184480"/>
            <a:chExt cx="9666903" cy="4741279"/>
          </a:xfrm>
        </p:grpSpPr>
        <p:sp>
          <p:nvSpPr>
            <p:cNvPr id="7" name="Cube 378">
              <a:extLst>
                <a:ext uri="{FF2B5EF4-FFF2-40B4-BE49-F238E27FC236}">
                  <a16:creationId xmlns:a16="http://schemas.microsoft.com/office/drawing/2014/main" id="{59A22964-5226-4898-9C4E-5D8339B872B5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5923093" y="4312705"/>
              <a:ext cx="373356" cy="357087"/>
            </a:xfrm>
            <a:prstGeom prst="cube">
              <a:avLst>
                <a:gd name="adj" fmla="val 30898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28575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01456" tIns="50729" rIns="101456" bIns="50729" rtlCol="0" anchor="ctr"/>
            <a:lstStyle/>
            <a:p>
              <a:pPr algn="ctr" defTabSz="504442"/>
              <a:endParaRPr lang="en-US" sz="1332">
                <a:solidFill>
                  <a:prstClr val="black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8" name="Freeform 379">
              <a:extLst>
                <a:ext uri="{FF2B5EF4-FFF2-40B4-BE49-F238E27FC236}">
                  <a16:creationId xmlns:a16="http://schemas.microsoft.com/office/drawing/2014/main" id="{6A56F55C-7F0B-44C5-B562-6CB2965178EC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5769538" y="1637814"/>
              <a:ext cx="1053821" cy="794767"/>
            </a:xfrm>
            <a:custGeom>
              <a:avLst/>
              <a:gdLst>
                <a:gd name="connsiteX0" fmla="*/ 551887 w 551887"/>
                <a:gd name="connsiteY0" fmla="*/ 473432 h 473432"/>
                <a:gd name="connsiteX1" fmla="*/ 0 w 551887"/>
                <a:gd name="connsiteY1" fmla="*/ 473432 h 473432"/>
                <a:gd name="connsiteX2" fmla="*/ 51402 w 551887"/>
                <a:gd name="connsiteY2" fmla="*/ 0 h 473432"/>
                <a:gd name="connsiteX3" fmla="*/ 524833 w 551887"/>
                <a:gd name="connsiteY3" fmla="*/ 0 h 473432"/>
                <a:gd name="connsiteX4" fmla="*/ 551887 w 551887"/>
                <a:gd name="connsiteY4" fmla="*/ 473432 h 473432"/>
                <a:gd name="connsiteX0" fmla="*/ 721634 w 721634"/>
                <a:gd name="connsiteY0" fmla="*/ 473432 h 473432"/>
                <a:gd name="connsiteX1" fmla="*/ 169747 w 721634"/>
                <a:gd name="connsiteY1" fmla="*/ 473432 h 473432"/>
                <a:gd name="connsiteX2" fmla="*/ 221149 w 721634"/>
                <a:gd name="connsiteY2" fmla="*/ 0 h 473432"/>
                <a:gd name="connsiteX3" fmla="*/ 694580 w 721634"/>
                <a:gd name="connsiteY3" fmla="*/ 0 h 473432"/>
                <a:gd name="connsiteX4" fmla="*/ 721634 w 721634"/>
                <a:gd name="connsiteY4" fmla="*/ 473432 h 473432"/>
                <a:gd name="connsiteX0" fmla="*/ 761161 w 761161"/>
                <a:gd name="connsiteY0" fmla="*/ 474811 h 474811"/>
                <a:gd name="connsiteX1" fmla="*/ 209274 w 761161"/>
                <a:gd name="connsiteY1" fmla="*/ 474811 h 474811"/>
                <a:gd name="connsiteX2" fmla="*/ 260676 w 761161"/>
                <a:gd name="connsiteY2" fmla="*/ 1379 h 474811"/>
                <a:gd name="connsiteX3" fmla="*/ 734107 w 761161"/>
                <a:gd name="connsiteY3" fmla="*/ 1379 h 474811"/>
                <a:gd name="connsiteX4" fmla="*/ 761161 w 761161"/>
                <a:gd name="connsiteY4" fmla="*/ 474811 h 474811"/>
                <a:gd name="connsiteX0" fmla="*/ 680396 w 680396"/>
                <a:gd name="connsiteY0" fmla="*/ 474639 h 474639"/>
                <a:gd name="connsiteX1" fmla="*/ 128509 w 680396"/>
                <a:gd name="connsiteY1" fmla="*/ 474639 h 474639"/>
                <a:gd name="connsiteX2" fmla="*/ 179911 w 680396"/>
                <a:gd name="connsiteY2" fmla="*/ 1207 h 474639"/>
                <a:gd name="connsiteX3" fmla="*/ 653342 w 680396"/>
                <a:gd name="connsiteY3" fmla="*/ 1207 h 474639"/>
                <a:gd name="connsiteX4" fmla="*/ 680396 w 680396"/>
                <a:gd name="connsiteY4" fmla="*/ 474639 h 474639"/>
                <a:gd name="connsiteX0" fmla="*/ 737528 w 737528"/>
                <a:gd name="connsiteY0" fmla="*/ 474883 h 474883"/>
                <a:gd name="connsiteX1" fmla="*/ 185641 w 737528"/>
                <a:gd name="connsiteY1" fmla="*/ 474883 h 474883"/>
                <a:gd name="connsiteX2" fmla="*/ 237043 w 737528"/>
                <a:gd name="connsiteY2" fmla="*/ 1451 h 474883"/>
                <a:gd name="connsiteX3" fmla="*/ 710474 w 737528"/>
                <a:gd name="connsiteY3" fmla="*/ 1451 h 474883"/>
                <a:gd name="connsiteX4" fmla="*/ 737528 w 737528"/>
                <a:gd name="connsiteY4" fmla="*/ 474883 h 474883"/>
                <a:gd name="connsiteX0" fmla="*/ 737528 w 737528"/>
                <a:gd name="connsiteY0" fmla="*/ 580442 h 580442"/>
                <a:gd name="connsiteX1" fmla="*/ 185641 w 737528"/>
                <a:gd name="connsiteY1" fmla="*/ 580442 h 580442"/>
                <a:gd name="connsiteX2" fmla="*/ 237043 w 737528"/>
                <a:gd name="connsiteY2" fmla="*/ 107010 h 580442"/>
                <a:gd name="connsiteX3" fmla="*/ 710474 w 737528"/>
                <a:gd name="connsiteY3" fmla="*/ 107010 h 580442"/>
                <a:gd name="connsiteX4" fmla="*/ 737528 w 737528"/>
                <a:gd name="connsiteY4" fmla="*/ 580442 h 580442"/>
                <a:gd name="connsiteX0" fmla="*/ 737528 w 737528"/>
                <a:gd name="connsiteY0" fmla="*/ 698619 h 698619"/>
                <a:gd name="connsiteX1" fmla="*/ 185641 w 737528"/>
                <a:gd name="connsiteY1" fmla="*/ 698619 h 698619"/>
                <a:gd name="connsiteX2" fmla="*/ 237043 w 737528"/>
                <a:gd name="connsiteY2" fmla="*/ 225187 h 698619"/>
                <a:gd name="connsiteX3" fmla="*/ 710474 w 737528"/>
                <a:gd name="connsiteY3" fmla="*/ 225187 h 698619"/>
                <a:gd name="connsiteX4" fmla="*/ 737528 w 737528"/>
                <a:gd name="connsiteY4" fmla="*/ 698619 h 698619"/>
                <a:gd name="connsiteX0" fmla="*/ 737528 w 737528"/>
                <a:gd name="connsiteY0" fmla="*/ 713575 h 713575"/>
                <a:gd name="connsiteX1" fmla="*/ 185641 w 737528"/>
                <a:gd name="connsiteY1" fmla="*/ 713575 h 713575"/>
                <a:gd name="connsiteX2" fmla="*/ 237043 w 737528"/>
                <a:gd name="connsiteY2" fmla="*/ 240143 h 713575"/>
                <a:gd name="connsiteX3" fmla="*/ 710474 w 737528"/>
                <a:gd name="connsiteY3" fmla="*/ 240143 h 713575"/>
                <a:gd name="connsiteX4" fmla="*/ 737528 w 737528"/>
                <a:gd name="connsiteY4" fmla="*/ 713575 h 713575"/>
                <a:gd name="connsiteX0" fmla="*/ 737528 w 889793"/>
                <a:gd name="connsiteY0" fmla="*/ 713575 h 713575"/>
                <a:gd name="connsiteX1" fmla="*/ 185641 w 889793"/>
                <a:gd name="connsiteY1" fmla="*/ 713575 h 713575"/>
                <a:gd name="connsiteX2" fmla="*/ 237043 w 889793"/>
                <a:gd name="connsiteY2" fmla="*/ 240143 h 713575"/>
                <a:gd name="connsiteX3" fmla="*/ 710474 w 889793"/>
                <a:gd name="connsiteY3" fmla="*/ 240143 h 713575"/>
                <a:gd name="connsiteX4" fmla="*/ 737528 w 889793"/>
                <a:gd name="connsiteY4" fmla="*/ 713575 h 713575"/>
                <a:gd name="connsiteX0" fmla="*/ 737528 w 954007"/>
                <a:gd name="connsiteY0" fmla="*/ 713575 h 713575"/>
                <a:gd name="connsiteX1" fmla="*/ 185641 w 954007"/>
                <a:gd name="connsiteY1" fmla="*/ 713575 h 713575"/>
                <a:gd name="connsiteX2" fmla="*/ 237043 w 954007"/>
                <a:gd name="connsiteY2" fmla="*/ 240143 h 713575"/>
                <a:gd name="connsiteX3" fmla="*/ 710474 w 954007"/>
                <a:gd name="connsiteY3" fmla="*/ 240143 h 713575"/>
                <a:gd name="connsiteX4" fmla="*/ 737528 w 954007"/>
                <a:gd name="connsiteY4" fmla="*/ 713575 h 713575"/>
                <a:gd name="connsiteX0" fmla="*/ 737528 w 946164"/>
                <a:gd name="connsiteY0" fmla="*/ 713575 h 713575"/>
                <a:gd name="connsiteX1" fmla="*/ 185641 w 946164"/>
                <a:gd name="connsiteY1" fmla="*/ 713575 h 713575"/>
                <a:gd name="connsiteX2" fmla="*/ 237043 w 946164"/>
                <a:gd name="connsiteY2" fmla="*/ 240143 h 713575"/>
                <a:gd name="connsiteX3" fmla="*/ 710474 w 946164"/>
                <a:gd name="connsiteY3" fmla="*/ 240143 h 713575"/>
                <a:gd name="connsiteX4" fmla="*/ 737528 w 946164"/>
                <a:gd name="connsiteY4" fmla="*/ 713575 h 71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6164" h="713575">
                  <a:moveTo>
                    <a:pt x="737528" y="713575"/>
                  </a:moveTo>
                  <a:lnTo>
                    <a:pt x="185641" y="713575"/>
                  </a:lnTo>
                  <a:cubicBezTo>
                    <a:pt x="-162443" y="547647"/>
                    <a:pt x="52179" y="213992"/>
                    <a:pt x="237043" y="240143"/>
                  </a:cubicBezTo>
                  <a:cubicBezTo>
                    <a:pt x="267703" y="-114254"/>
                    <a:pt x="728511" y="-43916"/>
                    <a:pt x="710474" y="240143"/>
                  </a:cubicBezTo>
                  <a:cubicBezTo>
                    <a:pt x="960266" y="224813"/>
                    <a:pt x="1072086" y="634218"/>
                    <a:pt x="737528" y="713575"/>
                  </a:cubicBezTo>
                  <a:close/>
                </a:path>
              </a:pathLst>
            </a:custGeom>
            <a:solidFill>
              <a:schemeClr val="tx1"/>
            </a:solidFill>
            <a:ln w="38100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lIns="101456" tIns="50729" rIns="101456" bIns="50729" rtlCol="0" anchor="ctr"/>
            <a:lstStyle/>
            <a:p>
              <a:pPr algn="ctr" defTabSz="1014582">
                <a:defRPr/>
              </a:pPr>
              <a:endParaRPr lang="en-US" sz="2220" kern="0">
                <a:solidFill>
                  <a:sysClr val="window" lastClr="FFFFFF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  <a:sym typeface="HP Simplified"/>
              </a:endParaRPr>
            </a:p>
          </p:txBody>
        </p:sp>
        <p:sp>
          <p:nvSpPr>
            <p:cNvPr id="9" name="Freeform 380">
              <a:extLst>
                <a:ext uri="{FF2B5EF4-FFF2-40B4-BE49-F238E27FC236}">
                  <a16:creationId xmlns:a16="http://schemas.microsoft.com/office/drawing/2014/main" id="{AFC95B50-3BAF-4414-A8F8-6C2344881AF4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1524489" y="493017"/>
              <a:ext cx="608870" cy="459195"/>
            </a:xfrm>
            <a:custGeom>
              <a:avLst/>
              <a:gdLst>
                <a:gd name="connsiteX0" fmla="*/ 551887 w 551887"/>
                <a:gd name="connsiteY0" fmla="*/ 473432 h 473432"/>
                <a:gd name="connsiteX1" fmla="*/ 0 w 551887"/>
                <a:gd name="connsiteY1" fmla="*/ 473432 h 473432"/>
                <a:gd name="connsiteX2" fmla="*/ 51402 w 551887"/>
                <a:gd name="connsiteY2" fmla="*/ 0 h 473432"/>
                <a:gd name="connsiteX3" fmla="*/ 524833 w 551887"/>
                <a:gd name="connsiteY3" fmla="*/ 0 h 473432"/>
                <a:gd name="connsiteX4" fmla="*/ 551887 w 551887"/>
                <a:gd name="connsiteY4" fmla="*/ 473432 h 473432"/>
                <a:gd name="connsiteX0" fmla="*/ 721634 w 721634"/>
                <a:gd name="connsiteY0" fmla="*/ 473432 h 473432"/>
                <a:gd name="connsiteX1" fmla="*/ 169747 w 721634"/>
                <a:gd name="connsiteY1" fmla="*/ 473432 h 473432"/>
                <a:gd name="connsiteX2" fmla="*/ 221149 w 721634"/>
                <a:gd name="connsiteY2" fmla="*/ 0 h 473432"/>
                <a:gd name="connsiteX3" fmla="*/ 694580 w 721634"/>
                <a:gd name="connsiteY3" fmla="*/ 0 h 473432"/>
                <a:gd name="connsiteX4" fmla="*/ 721634 w 721634"/>
                <a:gd name="connsiteY4" fmla="*/ 473432 h 473432"/>
                <a:gd name="connsiteX0" fmla="*/ 761161 w 761161"/>
                <a:gd name="connsiteY0" fmla="*/ 474811 h 474811"/>
                <a:gd name="connsiteX1" fmla="*/ 209274 w 761161"/>
                <a:gd name="connsiteY1" fmla="*/ 474811 h 474811"/>
                <a:gd name="connsiteX2" fmla="*/ 260676 w 761161"/>
                <a:gd name="connsiteY2" fmla="*/ 1379 h 474811"/>
                <a:gd name="connsiteX3" fmla="*/ 734107 w 761161"/>
                <a:gd name="connsiteY3" fmla="*/ 1379 h 474811"/>
                <a:gd name="connsiteX4" fmla="*/ 761161 w 761161"/>
                <a:gd name="connsiteY4" fmla="*/ 474811 h 474811"/>
                <a:gd name="connsiteX0" fmla="*/ 680396 w 680396"/>
                <a:gd name="connsiteY0" fmla="*/ 474639 h 474639"/>
                <a:gd name="connsiteX1" fmla="*/ 128509 w 680396"/>
                <a:gd name="connsiteY1" fmla="*/ 474639 h 474639"/>
                <a:gd name="connsiteX2" fmla="*/ 179911 w 680396"/>
                <a:gd name="connsiteY2" fmla="*/ 1207 h 474639"/>
                <a:gd name="connsiteX3" fmla="*/ 653342 w 680396"/>
                <a:gd name="connsiteY3" fmla="*/ 1207 h 474639"/>
                <a:gd name="connsiteX4" fmla="*/ 680396 w 680396"/>
                <a:gd name="connsiteY4" fmla="*/ 474639 h 474639"/>
                <a:gd name="connsiteX0" fmla="*/ 737528 w 737528"/>
                <a:gd name="connsiteY0" fmla="*/ 474883 h 474883"/>
                <a:gd name="connsiteX1" fmla="*/ 185641 w 737528"/>
                <a:gd name="connsiteY1" fmla="*/ 474883 h 474883"/>
                <a:gd name="connsiteX2" fmla="*/ 237043 w 737528"/>
                <a:gd name="connsiteY2" fmla="*/ 1451 h 474883"/>
                <a:gd name="connsiteX3" fmla="*/ 710474 w 737528"/>
                <a:gd name="connsiteY3" fmla="*/ 1451 h 474883"/>
                <a:gd name="connsiteX4" fmla="*/ 737528 w 737528"/>
                <a:gd name="connsiteY4" fmla="*/ 474883 h 474883"/>
                <a:gd name="connsiteX0" fmla="*/ 737528 w 737528"/>
                <a:gd name="connsiteY0" fmla="*/ 580442 h 580442"/>
                <a:gd name="connsiteX1" fmla="*/ 185641 w 737528"/>
                <a:gd name="connsiteY1" fmla="*/ 580442 h 580442"/>
                <a:gd name="connsiteX2" fmla="*/ 237043 w 737528"/>
                <a:gd name="connsiteY2" fmla="*/ 107010 h 580442"/>
                <a:gd name="connsiteX3" fmla="*/ 710474 w 737528"/>
                <a:gd name="connsiteY3" fmla="*/ 107010 h 580442"/>
                <a:gd name="connsiteX4" fmla="*/ 737528 w 737528"/>
                <a:gd name="connsiteY4" fmla="*/ 580442 h 580442"/>
                <a:gd name="connsiteX0" fmla="*/ 737528 w 737528"/>
                <a:gd name="connsiteY0" fmla="*/ 698619 h 698619"/>
                <a:gd name="connsiteX1" fmla="*/ 185641 w 737528"/>
                <a:gd name="connsiteY1" fmla="*/ 698619 h 698619"/>
                <a:gd name="connsiteX2" fmla="*/ 237043 w 737528"/>
                <a:gd name="connsiteY2" fmla="*/ 225187 h 698619"/>
                <a:gd name="connsiteX3" fmla="*/ 710474 w 737528"/>
                <a:gd name="connsiteY3" fmla="*/ 225187 h 698619"/>
                <a:gd name="connsiteX4" fmla="*/ 737528 w 737528"/>
                <a:gd name="connsiteY4" fmla="*/ 698619 h 698619"/>
                <a:gd name="connsiteX0" fmla="*/ 737528 w 737528"/>
                <a:gd name="connsiteY0" fmla="*/ 713575 h 713575"/>
                <a:gd name="connsiteX1" fmla="*/ 185641 w 737528"/>
                <a:gd name="connsiteY1" fmla="*/ 713575 h 713575"/>
                <a:gd name="connsiteX2" fmla="*/ 237043 w 737528"/>
                <a:gd name="connsiteY2" fmla="*/ 240143 h 713575"/>
                <a:gd name="connsiteX3" fmla="*/ 710474 w 737528"/>
                <a:gd name="connsiteY3" fmla="*/ 240143 h 713575"/>
                <a:gd name="connsiteX4" fmla="*/ 737528 w 737528"/>
                <a:gd name="connsiteY4" fmla="*/ 713575 h 713575"/>
                <a:gd name="connsiteX0" fmla="*/ 737528 w 889793"/>
                <a:gd name="connsiteY0" fmla="*/ 713575 h 713575"/>
                <a:gd name="connsiteX1" fmla="*/ 185641 w 889793"/>
                <a:gd name="connsiteY1" fmla="*/ 713575 h 713575"/>
                <a:gd name="connsiteX2" fmla="*/ 237043 w 889793"/>
                <a:gd name="connsiteY2" fmla="*/ 240143 h 713575"/>
                <a:gd name="connsiteX3" fmla="*/ 710474 w 889793"/>
                <a:gd name="connsiteY3" fmla="*/ 240143 h 713575"/>
                <a:gd name="connsiteX4" fmla="*/ 737528 w 889793"/>
                <a:gd name="connsiteY4" fmla="*/ 713575 h 713575"/>
                <a:gd name="connsiteX0" fmla="*/ 737528 w 954007"/>
                <a:gd name="connsiteY0" fmla="*/ 713575 h 713575"/>
                <a:gd name="connsiteX1" fmla="*/ 185641 w 954007"/>
                <a:gd name="connsiteY1" fmla="*/ 713575 h 713575"/>
                <a:gd name="connsiteX2" fmla="*/ 237043 w 954007"/>
                <a:gd name="connsiteY2" fmla="*/ 240143 h 713575"/>
                <a:gd name="connsiteX3" fmla="*/ 710474 w 954007"/>
                <a:gd name="connsiteY3" fmla="*/ 240143 h 713575"/>
                <a:gd name="connsiteX4" fmla="*/ 737528 w 954007"/>
                <a:gd name="connsiteY4" fmla="*/ 713575 h 713575"/>
                <a:gd name="connsiteX0" fmla="*/ 737528 w 946164"/>
                <a:gd name="connsiteY0" fmla="*/ 713575 h 713575"/>
                <a:gd name="connsiteX1" fmla="*/ 185641 w 946164"/>
                <a:gd name="connsiteY1" fmla="*/ 713575 h 713575"/>
                <a:gd name="connsiteX2" fmla="*/ 237043 w 946164"/>
                <a:gd name="connsiteY2" fmla="*/ 240143 h 713575"/>
                <a:gd name="connsiteX3" fmla="*/ 710474 w 946164"/>
                <a:gd name="connsiteY3" fmla="*/ 240143 h 713575"/>
                <a:gd name="connsiteX4" fmla="*/ 737528 w 946164"/>
                <a:gd name="connsiteY4" fmla="*/ 713575 h 71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6164" h="713575">
                  <a:moveTo>
                    <a:pt x="737528" y="713575"/>
                  </a:moveTo>
                  <a:lnTo>
                    <a:pt x="185641" y="713575"/>
                  </a:lnTo>
                  <a:cubicBezTo>
                    <a:pt x="-162443" y="547647"/>
                    <a:pt x="52179" y="213992"/>
                    <a:pt x="237043" y="240143"/>
                  </a:cubicBezTo>
                  <a:cubicBezTo>
                    <a:pt x="267703" y="-114254"/>
                    <a:pt x="728511" y="-43916"/>
                    <a:pt x="710474" y="240143"/>
                  </a:cubicBezTo>
                  <a:cubicBezTo>
                    <a:pt x="960266" y="224813"/>
                    <a:pt x="1072086" y="634218"/>
                    <a:pt x="737528" y="713575"/>
                  </a:cubicBezTo>
                  <a:close/>
                </a:path>
              </a:pathLst>
            </a:custGeom>
            <a:solidFill>
              <a:schemeClr val="accent5"/>
            </a:solidFill>
            <a:ln w="9525" cap="flat" cmpd="sng" algn="ctr">
              <a:noFill/>
              <a:prstDash val="solid"/>
            </a:ln>
            <a:effectLst/>
          </p:spPr>
          <p:txBody>
            <a:bodyPr lIns="101456" tIns="50729" rIns="101456" bIns="50729" rtlCol="0" anchor="ctr"/>
            <a:lstStyle/>
            <a:p>
              <a:pPr algn="ctr" defTabSz="1014582">
                <a:defRPr/>
              </a:pPr>
              <a:endParaRPr lang="en-US" sz="2220" kern="0">
                <a:solidFill>
                  <a:sysClr val="window" lastClr="FFFFFF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  <a:sym typeface="HP Simplified"/>
              </a:endParaRPr>
            </a:p>
          </p:txBody>
        </p:sp>
        <p:grpSp>
          <p:nvGrpSpPr>
            <p:cNvPr id="10" name="Group 381">
              <a:extLst>
                <a:ext uri="{FF2B5EF4-FFF2-40B4-BE49-F238E27FC236}">
                  <a16:creationId xmlns:a16="http://schemas.microsoft.com/office/drawing/2014/main" id="{23E0F212-6F83-4AAB-9BCB-1E7C228E3238}"/>
                </a:ext>
              </a:extLst>
            </p:cNvPr>
            <p:cNvGrpSpPr/>
            <p:nvPr>
              <p:custDataLst>
                <p:tags r:id="rId8"/>
              </p:custDataLst>
            </p:nvPr>
          </p:nvGrpSpPr>
          <p:grpSpPr>
            <a:xfrm>
              <a:off x="8223816" y="2744518"/>
              <a:ext cx="686106" cy="914718"/>
              <a:chOff x="18593981" y="3309938"/>
              <a:chExt cx="1818507" cy="2424435"/>
            </a:xfrm>
          </p:grpSpPr>
          <p:sp>
            <p:nvSpPr>
              <p:cNvPr id="134" name="Can 382">
                <a:extLst>
                  <a:ext uri="{FF2B5EF4-FFF2-40B4-BE49-F238E27FC236}">
                    <a16:creationId xmlns:a16="http://schemas.microsoft.com/office/drawing/2014/main" id="{E24610EF-3082-4E22-89CE-4C31161011E0}"/>
                  </a:ext>
                </a:extLst>
              </p:cNvPr>
              <p:cNvSpPr/>
              <p:nvPr/>
            </p:nvSpPr>
            <p:spPr>
              <a:xfrm>
                <a:off x="18593981" y="4870587"/>
                <a:ext cx="1818502" cy="863786"/>
              </a:xfrm>
              <a:prstGeom prst="can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5" name="Oval 383">
                <a:extLst>
                  <a:ext uri="{FF2B5EF4-FFF2-40B4-BE49-F238E27FC236}">
                    <a16:creationId xmlns:a16="http://schemas.microsoft.com/office/drawing/2014/main" id="{445C414B-F9A1-4CD4-A5BC-3389B8DFD75F}"/>
                  </a:ext>
                </a:extLst>
              </p:cNvPr>
              <p:cNvSpPr/>
              <p:nvPr/>
            </p:nvSpPr>
            <p:spPr>
              <a:xfrm>
                <a:off x="18603634" y="4868109"/>
                <a:ext cx="1803632" cy="224952"/>
              </a:xfrm>
              <a:prstGeom prst="ellipse">
                <a:avLst/>
              </a:prstGeom>
              <a:solidFill>
                <a:schemeClr val="accent6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6" name="Can 384">
                <a:extLst>
                  <a:ext uri="{FF2B5EF4-FFF2-40B4-BE49-F238E27FC236}">
                    <a16:creationId xmlns:a16="http://schemas.microsoft.com/office/drawing/2014/main" id="{F247AED8-6E4F-4BBC-A6EE-45DFA6DC19C7}"/>
                  </a:ext>
                </a:extLst>
              </p:cNvPr>
              <p:cNvSpPr/>
              <p:nvPr/>
            </p:nvSpPr>
            <p:spPr>
              <a:xfrm>
                <a:off x="18593981" y="4095160"/>
                <a:ext cx="1818502" cy="863786"/>
              </a:xfrm>
              <a:prstGeom prst="can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7" name="Oval 385">
                <a:extLst>
                  <a:ext uri="{FF2B5EF4-FFF2-40B4-BE49-F238E27FC236}">
                    <a16:creationId xmlns:a16="http://schemas.microsoft.com/office/drawing/2014/main" id="{29951F85-50C9-4868-87B8-18CE1D25ED29}"/>
                  </a:ext>
                </a:extLst>
              </p:cNvPr>
              <p:cNvSpPr/>
              <p:nvPr/>
            </p:nvSpPr>
            <p:spPr>
              <a:xfrm>
                <a:off x="18603634" y="4096585"/>
                <a:ext cx="1803632" cy="224952"/>
              </a:xfrm>
              <a:prstGeom prst="ellipse">
                <a:avLst/>
              </a:prstGeom>
              <a:solidFill>
                <a:schemeClr val="accent6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8" name="Can 386">
                <a:extLst>
                  <a:ext uri="{FF2B5EF4-FFF2-40B4-BE49-F238E27FC236}">
                    <a16:creationId xmlns:a16="http://schemas.microsoft.com/office/drawing/2014/main" id="{00DB6115-88B4-4834-9A94-AC570DF25082}"/>
                  </a:ext>
                </a:extLst>
              </p:cNvPr>
              <p:cNvSpPr/>
              <p:nvPr/>
            </p:nvSpPr>
            <p:spPr>
              <a:xfrm>
                <a:off x="18593986" y="3318957"/>
                <a:ext cx="1818502" cy="863781"/>
              </a:xfrm>
              <a:prstGeom prst="can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9" name="Oval 387">
                <a:extLst>
                  <a:ext uri="{FF2B5EF4-FFF2-40B4-BE49-F238E27FC236}">
                    <a16:creationId xmlns:a16="http://schemas.microsoft.com/office/drawing/2014/main" id="{D4DCDF01-6B6D-4214-8B10-0779ED1938D2}"/>
                  </a:ext>
                </a:extLst>
              </p:cNvPr>
              <p:cNvSpPr/>
              <p:nvPr/>
            </p:nvSpPr>
            <p:spPr>
              <a:xfrm>
                <a:off x="18603634" y="3309938"/>
                <a:ext cx="1803632" cy="224952"/>
              </a:xfrm>
              <a:prstGeom prst="ellipse">
                <a:avLst/>
              </a:prstGeom>
              <a:solidFill>
                <a:schemeClr val="accent6"/>
              </a:solidFill>
              <a:ln w="6350" cmpd="sng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grpSp>
          <p:nvGrpSpPr>
            <p:cNvPr id="11" name="Group 388">
              <a:extLst>
                <a:ext uri="{FF2B5EF4-FFF2-40B4-BE49-F238E27FC236}">
                  <a16:creationId xmlns:a16="http://schemas.microsoft.com/office/drawing/2014/main" id="{52AD07D6-B381-466D-963E-28DFD784CFED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1219542" y="2184791"/>
              <a:ext cx="491178" cy="654845"/>
              <a:chOff x="3019193" y="2343068"/>
              <a:chExt cx="846725" cy="1128866"/>
            </a:xfrm>
          </p:grpSpPr>
          <p:sp>
            <p:nvSpPr>
              <p:cNvPr id="128" name="Can 389">
                <a:extLst>
                  <a:ext uri="{FF2B5EF4-FFF2-40B4-BE49-F238E27FC236}">
                    <a16:creationId xmlns:a16="http://schemas.microsoft.com/office/drawing/2014/main" id="{B61D5CE6-3296-48F6-8827-78ED216968CB}"/>
                  </a:ext>
                </a:extLst>
              </p:cNvPr>
              <p:cNvSpPr/>
              <p:nvPr/>
            </p:nvSpPr>
            <p:spPr>
              <a:xfrm>
                <a:off x="3019193" y="3069743"/>
                <a:ext cx="846720" cy="402191"/>
              </a:xfrm>
              <a:prstGeom prst="can">
                <a:avLst/>
              </a:prstGeom>
              <a:solidFill>
                <a:schemeClr val="bg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29" name="Oval 390">
                <a:extLst>
                  <a:ext uri="{FF2B5EF4-FFF2-40B4-BE49-F238E27FC236}">
                    <a16:creationId xmlns:a16="http://schemas.microsoft.com/office/drawing/2014/main" id="{B91D2DBD-D5DB-4909-B0C6-4DEE33CD7EA4}"/>
                  </a:ext>
                </a:extLst>
              </p:cNvPr>
              <p:cNvSpPr/>
              <p:nvPr/>
            </p:nvSpPr>
            <p:spPr>
              <a:xfrm>
                <a:off x="3023686" y="3068585"/>
                <a:ext cx="839795" cy="104739"/>
              </a:xfrm>
              <a:prstGeom prst="ellipse">
                <a:avLst/>
              </a:prstGeom>
              <a:solidFill>
                <a:schemeClr val="accent6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0" name="Can 391">
                <a:extLst>
                  <a:ext uri="{FF2B5EF4-FFF2-40B4-BE49-F238E27FC236}">
                    <a16:creationId xmlns:a16="http://schemas.microsoft.com/office/drawing/2014/main" id="{8F7BB575-EC01-497D-8750-50FDB84ED94A}"/>
                  </a:ext>
                </a:extLst>
              </p:cNvPr>
              <p:cNvSpPr/>
              <p:nvPr/>
            </p:nvSpPr>
            <p:spPr>
              <a:xfrm>
                <a:off x="3019198" y="2708693"/>
                <a:ext cx="846718" cy="402191"/>
              </a:xfrm>
              <a:prstGeom prst="can">
                <a:avLst/>
              </a:prstGeom>
              <a:solidFill>
                <a:srgbClr val="E21C2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schemeClr val="tx1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1" name="Oval 392">
                <a:extLst>
                  <a:ext uri="{FF2B5EF4-FFF2-40B4-BE49-F238E27FC236}">
                    <a16:creationId xmlns:a16="http://schemas.microsoft.com/office/drawing/2014/main" id="{D6A69DA6-620A-4331-8BFA-27D7E52B211B}"/>
                  </a:ext>
                </a:extLst>
              </p:cNvPr>
              <p:cNvSpPr/>
              <p:nvPr/>
            </p:nvSpPr>
            <p:spPr>
              <a:xfrm>
                <a:off x="3023687" y="2709352"/>
                <a:ext cx="839795" cy="104739"/>
              </a:xfrm>
              <a:prstGeom prst="ellipse">
                <a:avLst/>
              </a:prstGeom>
              <a:solidFill>
                <a:schemeClr val="accent6"/>
              </a:solidFill>
              <a:ln w="635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2" name="Can 393">
                <a:extLst>
                  <a:ext uri="{FF2B5EF4-FFF2-40B4-BE49-F238E27FC236}">
                    <a16:creationId xmlns:a16="http://schemas.microsoft.com/office/drawing/2014/main" id="{F8D5711B-A5B6-43D0-BDFB-33C18864D88D}"/>
                  </a:ext>
                </a:extLst>
              </p:cNvPr>
              <p:cNvSpPr/>
              <p:nvPr/>
            </p:nvSpPr>
            <p:spPr>
              <a:xfrm>
                <a:off x="3019198" y="2347272"/>
                <a:ext cx="846720" cy="402186"/>
              </a:xfrm>
              <a:prstGeom prst="can">
                <a:avLst/>
              </a:prstGeom>
              <a:solidFill>
                <a:schemeClr val="tx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33" name="Oval 394">
                <a:extLst>
                  <a:ext uri="{FF2B5EF4-FFF2-40B4-BE49-F238E27FC236}">
                    <a16:creationId xmlns:a16="http://schemas.microsoft.com/office/drawing/2014/main" id="{00F6882C-2090-4EB3-AF41-0246D171AE89}"/>
                  </a:ext>
                </a:extLst>
              </p:cNvPr>
              <p:cNvSpPr/>
              <p:nvPr/>
            </p:nvSpPr>
            <p:spPr>
              <a:xfrm>
                <a:off x="3023689" y="2343068"/>
                <a:ext cx="839795" cy="104739"/>
              </a:xfrm>
              <a:prstGeom prst="ellipse">
                <a:avLst/>
              </a:prstGeom>
              <a:solidFill>
                <a:schemeClr val="accent6"/>
              </a:solidFill>
              <a:ln w="6350" cmpd="sng">
                <a:solidFill>
                  <a:srgbClr val="0096D6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grpSp>
          <p:nvGrpSpPr>
            <p:cNvPr id="12" name="Group 395">
              <a:extLst>
                <a:ext uri="{FF2B5EF4-FFF2-40B4-BE49-F238E27FC236}">
                  <a16:creationId xmlns:a16="http://schemas.microsoft.com/office/drawing/2014/main" id="{479645BE-21EC-449F-8493-1E3BC9E9D56F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5492393" y="3611764"/>
              <a:ext cx="606419" cy="589251"/>
              <a:chOff x="6054984" y="688905"/>
              <a:chExt cx="650618" cy="550259"/>
            </a:xfrm>
            <a:solidFill>
              <a:schemeClr val="accent1"/>
            </a:solidFill>
          </p:grpSpPr>
          <p:sp>
            <p:nvSpPr>
              <p:cNvPr id="125" name="Freeform 70">
                <a:extLst>
                  <a:ext uri="{FF2B5EF4-FFF2-40B4-BE49-F238E27FC236}">
                    <a16:creationId xmlns:a16="http://schemas.microsoft.com/office/drawing/2014/main" id="{0DCFAEFF-80CC-4A21-9198-CA0DB0CCB5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24882" y="717481"/>
                <a:ext cx="180720" cy="475132"/>
              </a:xfrm>
              <a:custGeom>
                <a:avLst/>
                <a:gdLst>
                  <a:gd name="T0" fmla="*/ 7 w 30"/>
                  <a:gd name="T1" fmla="*/ 8 h 79"/>
                  <a:gd name="T2" fmla="*/ 15 w 30"/>
                  <a:gd name="T3" fmla="*/ 0 h 79"/>
                  <a:gd name="T4" fmla="*/ 23 w 30"/>
                  <a:gd name="T5" fmla="*/ 8 h 79"/>
                  <a:gd name="T6" fmla="*/ 15 w 30"/>
                  <a:gd name="T7" fmla="*/ 16 h 79"/>
                  <a:gd name="T8" fmla="*/ 7 w 30"/>
                  <a:gd name="T9" fmla="*/ 8 h 79"/>
                  <a:gd name="T10" fmla="*/ 26 w 30"/>
                  <a:gd name="T11" fmla="*/ 20 h 79"/>
                  <a:gd name="T12" fmla="*/ 4 w 30"/>
                  <a:gd name="T13" fmla="*/ 20 h 79"/>
                  <a:gd name="T14" fmla="*/ 0 w 30"/>
                  <a:gd name="T15" fmla="*/ 24 h 79"/>
                  <a:gd name="T16" fmla="*/ 0 w 30"/>
                  <a:gd name="T17" fmla="*/ 45 h 79"/>
                  <a:gd name="T18" fmla="*/ 4 w 30"/>
                  <a:gd name="T19" fmla="*/ 48 h 79"/>
                  <a:gd name="T20" fmla="*/ 7 w 30"/>
                  <a:gd name="T21" fmla="*/ 48 h 79"/>
                  <a:gd name="T22" fmla="*/ 9 w 30"/>
                  <a:gd name="T23" fmla="*/ 78 h 79"/>
                  <a:gd name="T24" fmla="*/ 11 w 30"/>
                  <a:gd name="T25" fmla="*/ 79 h 79"/>
                  <a:gd name="T26" fmla="*/ 20 w 30"/>
                  <a:gd name="T27" fmla="*/ 79 h 79"/>
                  <a:gd name="T28" fmla="*/ 22 w 30"/>
                  <a:gd name="T29" fmla="*/ 78 h 79"/>
                  <a:gd name="T30" fmla="*/ 22 w 30"/>
                  <a:gd name="T31" fmla="*/ 78 h 79"/>
                  <a:gd name="T32" fmla="*/ 24 w 30"/>
                  <a:gd name="T33" fmla="*/ 48 h 79"/>
                  <a:gd name="T34" fmla="*/ 26 w 30"/>
                  <a:gd name="T35" fmla="*/ 48 h 79"/>
                  <a:gd name="T36" fmla="*/ 30 w 30"/>
                  <a:gd name="T37" fmla="*/ 45 h 79"/>
                  <a:gd name="T38" fmla="*/ 30 w 30"/>
                  <a:gd name="T39" fmla="*/ 24 h 79"/>
                  <a:gd name="T40" fmla="*/ 26 w 30"/>
                  <a:gd name="T41" fmla="*/ 2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79">
                    <a:moveTo>
                      <a:pt x="7" y="8"/>
                    </a:moveTo>
                    <a:cubicBezTo>
                      <a:pt x="7" y="2"/>
                      <a:pt x="9" y="0"/>
                      <a:pt x="15" y="0"/>
                    </a:cubicBezTo>
                    <a:cubicBezTo>
                      <a:pt x="21" y="0"/>
                      <a:pt x="23" y="2"/>
                      <a:pt x="23" y="8"/>
                    </a:cubicBezTo>
                    <a:cubicBezTo>
                      <a:pt x="23" y="14"/>
                      <a:pt x="21" y="16"/>
                      <a:pt x="15" y="16"/>
                    </a:cubicBezTo>
                    <a:cubicBezTo>
                      <a:pt x="9" y="16"/>
                      <a:pt x="7" y="14"/>
                      <a:pt x="7" y="8"/>
                    </a:cubicBezTo>
                    <a:close/>
                    <a:moveTo>
                      <a:pt x="26" y="20"/>
                    </a:move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7"/>
                      <a:pt x="2" y="48"/>
                      <a:pt x="4" y="48"/>
                    </a:cubicBezTo>
                    <a:cubicBezTo>
                      <a:pt x="7" y="48"/>
                      <a:pt x="7" y="48"/>
                      <a:pt x="7" y="48"/>
                    </a:cubicBezTo>
                    <a:cubicBezTo>
                      <a:pt x="7" y="55"/>
                      <a:pt x="8" y="74"/>
                      <a:pt x="9" y="78"/>
                    </a:cubicBezTo>
                    <a:cubicBezTo>
                      <a:pt x="9" y="78"/>
                      <a:pt x="10" y="79"/>
                      <a:pt x="11" y="7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21" y="79"/>
                      <a:pt x="22" y="78"/>
                      <a:pt x="22" y="78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3" y="74"/>
                      <a:pt x="24" y="55"/>
                      <a:pt x="24" y="48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29" y="48"/>
                      <a:pt x="30" y="47"/>
                      <a:pt x="30" y="45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22"/>
                      <a:pt x="29" y="20"/>
                      <a:pt x="26" y="20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01506" tIns="50752" rIns="101506" bIns="50752" numCol="1" anchor="t" anchorCtr="0" compatLnSpc="1">
                <a:prstTxWarp prst="textNoShape">
                  <a:avLst/>
                </a:prstTxWarp>
              </a:bodyPr>
              <a:lstStyle/>
              <a:p>
                <a:pPr defTabSz="504442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26" name="Freeform 70">
                <a:extLst>
                  <a:ext uri="{FF2B5EF4-FFF2-40B4-BE49-F238E27FC236}">
                    <a16:creationId xmlns:a16="http://schemas.microsoft.com/office/drawing/2014/main" id="{2EB5775F-9522-435D-8B77-D27B3CBD4B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54984" y="720656"/>
                <a:ext cx="180720" cy="475132"/>
              </a:xfrm>
              <a:custGeom>
                <a:avLst/>
                <a:gdLst>
                  <a:gd name="T0" fmla="*/ 7 w 30"/>
                  <a:gd name="T1" fmla="*/ 8 h 79"/>
                  <a:gd name="T2" fmla="*/ 15 w 30"/>
                  <a:gd name="T3" fmla="*/ 0 h 79"/>
                  <a:gd name="T4" fmla="*/ 23 w 30"/>
                  <a:gd name="T5" fmla="*/ 8 h 79"/>
                  <a:gd name="T6" fmla="*/ 15 w 30"/>
                  <a:gd name="T7" fmla="*/ 16 h 79"/>
                  <a:gd name="T8" fmla="*/ 7 w 30"/>
                  <a:gd name="T9" fmla="*/ 8 h 79"/>
                  <a:gd name="T10" fmla="*/ 26 w 30"/>
                  <a:gd name="T11" fmla="*/ 20 h 79"/>
                  <a:gd name="T12" fmla="*/ 4 w 30"/>
                  <a:gd name="T13" fmla="*/ 20 h 79"/>
                  <a:gd name="T14" fmla="*/ 0 w 30"/>
                  <a:gd name="T15" fmla="*/ 24 h 79"/>
                  <a:gd name="T16" fmla="*/ 0 w 30"/>
                  <a:gd name="T17" fmla="*/ 45 h 79"/>
                  <a:gd name="T18" fmla="*/ 4 w 30"/>
                  <a:gd name="T19" fmla="*/ 48 h 79"/>
                  <a:gd name="T20" fmla="*/ 7 w 30"/>
                  <a:gd name="T21" fmla="*/ 48 h 79"/>
                  <a:gd name="T22" fmla="*/ 9 w 30"/>
                  <a:gd name="T23" fmla="*/ 78 h 79"/>
                  <a:gd name="T24" fmla="*/ 11 w 30"/>
                  <a:gd name="T25" fmla="*/ 79 h 79"/>
                  <a:gd name="T26" fmla="*/ 20 w 30"/>
                  <a:gd name="T27" fmla="*/ 79 h 79"/>
                  <a:gd name="T28" fmla="*/ 22 w 30"/>
                  <a:gd name="T29" fmla="*/ 78 h 79"/>
                  <a:gd name="T30" fmla="*/ 22 w 30"/>
                  <a:gd name="T31" fmla="*/ 78 h 79"/>
                  <a:gd name="T32" fmla="*/ 24 w 30"/>
                  <a:gd name="T33" fmla="*/ 48 h 79"/>
                  <a:gd name="T34" fmla="*/ 26 w 30"/>
                  <a:gd name="T35" fmla="*/ 48 h 79"/>
                  <a:gd name="T36" fmla="*/ 30 w 30"/>
                  <a:gd name="T37" fmla="*/ 45 h 79"/>
                  <a:gd name="T38" fmla="*/ 30 w 30"/>
                  <a:gd name="T39" fmla="*/ 24 h 79"/>
                  <a:gd name="T40" fmla="*/ 26 w 30"/>
                  <a:gd name="T41" fmla="*/ 2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79">
                    <a:moveTo>
                      <a:pt x="7" y="8"/>
                    </a:moveTo>
                    <a:cubicBezTo>
                      <a:pt x="7" y="2"/>
                      <a:pt x="9" y="0"/>
                      <a:pt x="15" y="0"/>
                    </a:cubicBezTo>
                    <a:cubicBezTo>
                      <a:pt x="21" y="0"/>
                      <a:pt x="23" y="2"/>
                      <a:pt x="23" y="8"/>
                    </a:cubicBezTo>
                    <a:cubicBezTo>
                      <a:pt x="23" y="14"/>
                      <a:pt x="21" y="16"/>
                      <a:pt x="15" y="16"/>
                    </a:cubicBezTo>
                    <a:cubicBezTo>
                      <a:pt x="9" y="16"/>
                      <a:pt x="7" y="14"/>
                      <a:pt x="7" y="8"/>
                    </a:cubicBezTo>
                    <a:close/>
                    <a:moveTo>
                      <a:pt x="26" y="20"/>
                    </a:move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7"/>
                      <a:pt x="2" y="48"/>
                      <a:pt x="4" y="48"/>
                    </a:cubicBezTo>
                    <a:cubicBezTo>
                      <a:pt x="7" y="48"/>
                      <a:pt x="7" y="48"/>
                      <a:pt x="7" y="48"/>
                    </a:cubicBezTo>
                    <a:cubicBezTo>
                      <a:pt x="7" y="55"/>
                      <a:pt x="8" y="74"/>
                      <a:pt x="9" y="78"/>
                    </a:cubicBezTo>
                    <a:cubicBezTo>
                      <a:pt x="9" y="78"/>
                      <a:pt x="10" y="79"/>
                      <a:pt x="11" y="7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21" y="79"/>
                      <a:pt x="22" y="78"/>
                      <a:pt x="22" y="78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3" y="74"/>
                      <a:pt x="24" y="55"/>
                      <a:pt x="24" y="48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29" y="48"/>
                      <a:pt x="30" y="47"/>
                      <a:pt x="30" y="45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22"/>
                      <a:pt x="29" y="20"/>
                      <a:pt x="26" y="2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01506" tIns="50752" rIns="101506" bIns="50752" numCol="1" anchor="t" anchorCtr="0" compatLnSpc="1">
                <a:prstTxWarp prst="textNoShape">
                  <a:avLst/>
                </a:prstTxWarp>
              </a:bodyPr>
              <a:lstStyle/>
              <a:p>
                <a:pPr defTabSz="504442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27" name="Freeform 70">
                <a:extLst>
                  <a:ext uri="{FF2B5EF4-FFF2-40B4-BE49-F238E27FC236}">
                    <a16:creationId xmlns:a16="http://schemas.microsoft.com/office/drawing/2014/main" id="{3D6CA52C-D058-4F9E-9349-AAE5845A82A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75643" y="688905"/>
                <a:ext cx="209295" cy="550259"/>
              </a:xfrm>
              <a:custGeom>
                <a:avLst/>
                <a:gdLst>
                  <a:gd name="T0" fmla="*/ 7 w 30"/>
                  <a:gd name="T1" fmla="*/ 8 h 79"/>
                  <a:gd name="T2" fmla="*/ 15 w 30"/>
                  <a:gd name="T3" fmla="*/ 0 h 79"/>
                  <a:gd name="T4" fmla="*/ 23 w 30"/>
                  <a:gd name="T5" fmla="*/ 8 h 79"/>
                  <a:gd name="T6" fmla="*/ 15 w 30"/>
                  <a:gd name="T7" fmla="*/ 16 h 79"/>
                  <a:gd name="T8" fmla="*/ 7 w 30"/>
                  <a:gd name="T9" fmla="*/ 8 h 79"/>
                  <a:gd name="T10" fmla="*/ 26 w 30"/>
                  <a:gd name="T11" fmla="*/ 20 h 79"/>
                  <a:gd name="T12" fmla="*/ 4 w 30"/>
                  <a:gd name="T13" fmla="*/ 20 h 79"/>
                  <a:gd name="T14" fmla="*/ 0 w 30"/>
                  <a:gd name="T15" fmla="*/ 24 h 79"/>
                  <a:gd name="T16" fmla="*/ 0 w 30"/>
                  <a:gd name="T17" fmla="*/ 45 h 79"/>
                  <a:gd name="T18" fmla="*/ 4 w 30"/>
                  <a:gd name="T19" fmla="*/ 48 h 79"/>
                  <a:gd name="T20" fmla="*/ 7 w 30"/>
                  <a:gd name="T21" fmla="*/ 48 h 79"/>
                  <a:gd name="T22" fmla="*/ 9 w 30"/>
                  <a:gd name="T23" fmla="*/ 78 h 79"/>
                  <a:gd name="T24" fmla="*/ 11 w 30"/>
                  <a:gd name="T25" fmla="*/ 79 h 79"/>
                  <a:gd name="T26" fmla="*/ 20 w 30"/>
                  <a:gd name="T27" fmla="*/ 79 h 79"/>
                  <a:gd name="T28" fmla="*/ 22 w 30"/>
                  <a:gd name="T29" fmla="*/ 78 h 79"/>
                  <a:gd name="T30" fmla="*/ 22 w 30"/>
                  <a:gd name="T31" fmla="*/ 78 h 79"/>
                  <a:gd name="T32" fmla="*/ 24 w 30"/>
                  <a:gd name="T33" fmla="*/ 48 h 79"/>
                  <a:gd name="T34" fmla="*/ 26 w 30"/>
                  <a:gd name="T35" fmla="*/ 48 h 79"/>
                  <a:gd name="T36" fmla="*/ 30 w 30"/>
                  <a:gd name="T37" fmla="*/ 45 h 79"/>
                  <a:gd name="T38" fmla="*/ 30 w 30"/>
                  <a:gd name="T39" fmla="*/ 24 h 79"/>
                  <a:gd name="T40" fmla="*/ 26 w 30"/>
                  <a:gd name="T41" fmla="*/ 2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0" h="79">
                    <a:moveTo>
                      <a:pt x="7" y="8"/>
                    </a:moveTo>
                    <a:cubicBezTo>
                      <a:pt x="7" y="2"/>
                      <a:pt x="9" y="0"/>
                      <a:pt x="15" y="0"/>
                    </a:cubicBezTo>
                    <a:cubicBezTo>
                      <a:pt x="21" y="0"/>
                      <a:pt x="23" y="2"/>
                      <a:pt x="23" y="8"/>
                    </a:cubicBezTo>
                    <a:cubicBezTo>
                      <a:pt x="23" y="14"/>
                      <a:pt x="21" y="16"/>
                      <a:pt x="15" y="16"/>
                    </a:cubicBezTo>
                    <a:cubicBezTo>
                      <a:pt x="9" y="16"/>
                      <a:pt x="7" y="14"/>
                      <a:pt x="7" y="8"/>
                    </a:cubicBezTo>
                    <a:close/>
                    <a:moveTo>
                      <a:pt x="26" y="20"/>
                    </a:moveTo>
                    <a:cubicBezTo>
                      <a:pt x="4" y="20"/>
                      <a:pt x="4" y="20"/>
                      <a:pt x="4" y="20"/>
                    </a:cubicBezTo>
                    <a:cubicBezTo>
                      <a:pt x="2" y="20"/>
                      <a:pt x="0" y="22"/>
                      <a:pt x="0" y="24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7"/>
                      <a:pt x="2" y="48"/>
                      <a:pt x="4" y="48"/>
                    </a:cubicBezTo>
                    <a:cubicBezTo>
                      <a:pt x="7" y="48"/>
                      <a:pt x="7" y="48"/>
                      <a:pt x="7" y="48"/>
                    </a:cubicBezTo>
                    <a:cubicBezTo>
                      <a:pt x="7" y="55"/>
                      <a:pt x="8" y="74"/>
                      <a:pt x="9" y="78"/>
                    </a:cubicBezTo>
                    <a:cubicBezTo>
                      <a:pt x="9" y="78"/>
                      <a:pt x="10" y="79"/>
                      <a:pt x="11" y="7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21" y="79"/>
                      <a:pt x="22" y="78"/>
                      <a:pt x="22" y="78"/>
                    </a:cubicBezTo>
                    <a:cubicBezTo>
                      <a:pt x="22" y="78"/>
                      <a:pt x="22" y="78"/>
                      <a:pt x="22" y="78"/>
                    </a:cubicBezTo>
                    <a:cubicBezTo>
                      <a:pt x="23" y="74"/>
                      <a:pt x="24" y="55"/>
                      <a:pt x="24" y="48"/>
                    </a:cubicBezTo>
                    <a:cubicBezTo>
                      <a:pt x="26" y="48"/>
                      <a:pt x="26" y="48"/>
                      <a:pt x="26" y="48"/>
                    </a:cubicBezTo>
                    <a:cubicBezTo>
                      <a:pt x="29" y="48"/>
                      <a:pt x="30" y="47"/>
                      <a:pt x="30" y="45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22"/>
                      <a:pt x="29" y="20"/>
                      <a:pt x="26" y="2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01506" tIns="50752" rIns="101506" bIns="50752" numCol="1" anchor="t" anchorCtr="0" compatLnSpc="1">
                <a:prstTxWarp prst="textNoShape">
                  <a:avLst/>
                </a:prstTxWarp>
              </a:bodyPr>
              <a:lstStyle/>
              <a:p>
                <a:pPr defTabSz="504442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sp>
          <p:nvSpPr>
            <p:cNvPr id="13" name="Rounded Rectangle 400">
              <a:extLst>
                <a:ext uri="{FF2B5EF4-FFF2-40B4-BE49-F238E27FC236}">
                  <a16:creationId xmlns:a16="http://schemas.microsoft.com/office/drawing/2014/main" id="{D9C77A60-AFC4-4AB5-AC6A-9AAF1B6B99F6}"/>
                </a:ext>
              </a:extLst>
            </p:cNvPr>
            <p:cNvSpPr/>
            <p:nvPr/>
          </p:nvSpPr>
          <p:spPr>
            <a:xfrm>
              <a:off x="6975668" y="3864696"/>
              <a:ext cx="500670" cy="442752"/>
            </a:xfrm>
            <a:prstGeom prst="roundRect">
              <a:avLst>
                <a:gd name="adj" fmla="val 10785"/>
              </a:avLst>
            </a:prstGeom>
            <a:solidFill>
              <a:srgbClr val="66666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04442"/>
              <a:endParaRPr lang="en-US" sz="1998">
                <a:solidFill>
                  <a:prstClr val="white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14" name="Rounded Rectangle 401">
              <a:extLst>
                <a:ext uri="{FF2B5EF4-FFF2-40B4-BE49-F238E27FC236}">
                  <a16:creationId xmlns:a16="http://schemas.microsoft.com/office/drawing/2014/main" id="{FFBA5A85-C82D-40BB-A9B7-1FBE9A53A372}"/>
                </a:ext>
              </a:extLst>
            </p:cNvPr>
            <p:cNvSpPr/>
            <p:nvPr/>
          </p:nvSpPr>
          <p:spPr>
            <a:xfrm>
              <a:off x="7019113" y="3919750"/>
              <a:ext cx="413776" cy="332646"/>
            </a:xfrm>
            <a:prstGeom prst="roundRect">
              <a:avLst>
                <a:gd name="adj" fmla="val 6040"/>
              </a:avLst>
            </a:prstGeom>
            <a:solidFill>
              <a:schemeClr val="bg1">
                <a:lumMod val="85000"/>
              </a:schemeClr>
            </a:solidFill>
            <a:ln w="19050" cmpd="sng">
              <a:solidFill>
                <a:srgbClr val="FFFF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04442"/>
              <a:endParaRPr lang="en-US" sz="1998">
                <a:solidFill>
                  <a:prstClr val="white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15" name="Rounded Rectangle 402">
              <a:extLst>
                <a:ext uri="{FF2B5EF4-FFF2-40B4-BE49-F238E27FC236}">
                  <a16:creationId xmlns:a16="http://schemas.microsoft.com/office/drawing/2014/main" id="{210CD9FA-B56C-4918-A1F9-E6F8FD90F174}"/>
                </a:ext>
              </a:extLst>
            </p:cNvPr>
            <p:cNvSpPr/>
            <p:nvPr/>
          </p:nvSpPr>
          <p:spPr>
            <a:xfrm>
              <a:off x="7105943" y="4332260"/>
              <a:ext cx="247324" cy="33392"/>
            </a:xfrm>
            <a:prstGeom prst="roundRect">
              <a:avLst>
                <a:gd name="adj" fmla="val 50000"/>
              </a:avLst>
            </a:prstGeom>
            <a:solidFill>
              <a:srgbClr val="66666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04442"/>
              <a:endParaRPr lang="en-US" sz="1998">
                <a:solidFill>
                  <a:prstClr val="white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grpSp>
          <p:nvGrpSpPr>
            <p:cNvPr id="16" name="Group 407">
              <a:extLst>
                <a:ext uri="{FF2B5EF4-FFF2-40B4-BE49-F238E27FC236}">
                  <a16:creationId xmlns:a16="http://schemas.microsoft.com/office/drawing/2014/main" id="{799E9AF1-D4F3-4A5E-A957-576980A58792}"/>
                </a:ext>
              </a:extLst>
            </p:cNvPr>
            <p:cNvGrpSpPr/>
            <p:nvPr>
              <p:custDataLst>
                <p:tags r:id="rId11"/>
              </p:custDataLst>
            </p:nvPr>
          </p:nvGrpSpPr>
          <p:grpSpPr>
            <a:xfrm>
              <a:off x="2614519" y="1960239"/>
              <a:ext cx="276193" cy="467393"/>
              <a:chOff x="7713918" y="1670381"/>
              <a:chExt cx="207766" cy="351597"/>
            </a:xfrm>
          </p:grpSpPr>
          <p:sp>
            <p:nvSpPr>
              <p:cNvPr id="122" name="Rounded Rectangle 408">
                <a:extLst>
                  <a:ext uri="{FF2B5EF4-FFF2-40B4-BE49-F238E27FC236}">
                    <a16:creationId xmlns:a16="http://schemas.microsoft.com/office/drawing/2014/main" id="{C651B986-5F60-49C6-8627-2EA7C3AE346B}"/>
                  </a:ext>
                </a:extLst>
              </p:cNvPr>
              <p:cNvSpPr/>
              <p:nvPr/>
            </p:nvSpPr>
            <p:spPr>
              <a:xfrm>
                <a:off x="7713918" y="1670381"/>
                <a:ext cx="207766" cy="351597"/>
              </a:xfrm>
              <a:prstGeom prst="roundRect">
                <a:avLst>
                  <a:gd name="adj" fmla="val 9910"/>
                </a:avLst>
              </a:prstGeom>
              <a:solidFill>
                <a:schemeClr val="tx1"/>
              </a:solidFill>
              <a:ln w="381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23" name="Rounded Rectangle 409">
                <a:extLst>
                  <a:ext uri="{FF2B5EF4-FFF2-40B4-BE49-F238E27FC236}">
                    <a16:creationId xmlns:a16="http://schemas.microsoft.com/office/drawing/2014/main" id="{1D979FD7-463A-4268-9A95-5704B6639812}"/>
                  </a:ext>
                </a:extLst>
              </p:cNvPr>
              <p:cNvSpPr/>
              <p:nvPr/>
            </p:nvSpPr>
            <p:spPr>
              <a:xfrm>
                <a:off x="7779618" y="1730215"/>
                <a:ext cx="76370" cy="18568"/>
              </a:xfrm>
              <a:prstGeom prst="roundRect">
                <a:avLst>
                  <a:gd name="adj" fmla="val 50000"/>
                </a:avLst>
              </a:prstGeom>
              <a:solidFill>
                <a:srgbClr val="FFFFFF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24" name="Rounded Rectangle 410">
                <a:extLst>
                  <a:ext uri="{FF2B5EF4-FFF2-40B4-BE49-F238E27FC236}">
                    <a16:creationId xmlns:a16="http://schemas.microsoft.com/office/drawing/2014/main" id="{4599800B-3C89-4D83-812A-FAC2BAC1D7F9}"/>
                  </a:ext>
                </a:extLst>
              </p:cNvPr>
              <p:cNvSpPr/>
              <p:nvPr/>
            </p:nvSpPr>
            <p:spPr>
              <a:xfrm>
                <a:off x="7739761" y="1700893"/>
                <a:ext cx="156097" cy="290576"/>
              </a:xfrm>
              <a:prstGeom prst="roundRect">
                <a:avLst>
                  <a:gd name="adj" fmla="val 9910"/>
                </a:avLst>
              </a:prstGeom>
              <a:noFill/>
              <a:ln w="12700" cmpd="sng">
                <a:solidFill>
                  <a:srgbClr val="FFFF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grpSp>
          <p:nvGrpSpPr>
            <p:cNvPr id="17" name="Group 414">
              <a:extLst>
                <a:ext uri="{FF2B5EF4-FFF2-40B4-BE49-F238E27FC236}">
                  <a16:creationId xmlns:a16="http://schemas.microsoft.com/office/drawing/2014/main" id="{E27A796F-ADAD-42F0-977B-DB641C350ECF}"/>
                </a:ext>
              </a:extLst>
            </p:cNvPr>
            <p:cNvGrpSpPr/>
            <p:nvPr>
              <p:custDataLst>
                <p:tags r:id="rId12"/>
              </p:custDataLst>
            </p:nvPr>
          </p:nvGrpSpPr>
          <p:grpSpPr>
            <a:xfrm>
              <a:off x="1670287" y="3334509"/>
              <a:ext cx="744489" cy="732697"/>
              <a:chOff x="5272388" y="2031369"/>
              <a:chExt cx="1283395" cy="1263071"/>
            </a:xfrm>
          </p:grpSpPr>
          <p:sp>
            <p:nvSpPr>
              <p:cNvPr id="111" name="Oval 415">
                <a:extLst>
                  <a:ext uri="{FF2B5EF4-FFF2-40B4-BE49-F238E27FC236}">
                    <a16:creationId xmlns:a16="http://schemas.microsoft.com/office/drawing/2014/main" id="{CF2B96DB-7ED4-43E6-8CE9-FF8D661F540B}"/>
                  </a:ext>
                </a:extLst>
              </p:cNvPr>
              <p:cNvSpPr/>
              <p:nvPr/>
            </p:nvSpPr>
            <p:spPr>
              <a:xfrm>
                <a:off x="5363687" y="2112522"/>
                <a:ext cx="1100761" cy="1100767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12" name="Oval 416">
                <a:extLst>
                  <a:ext uri="{FF2B5EF4-FFF2-40B4-BE49-F238E27FC236}">
                    <a16:creationId xmlns:a16="http://schemas.microsoft.com/office/drawing/2014/main" id="{1DD721F3-26EE-402C-8155-49D9FB49085F}"/>
                  </a:ext>
                </a:extLst>
              </p:cNvPr>
              <p:cNvSpPr/>
              <p:nvPr/>
            </p:nvSpPr>
            <p:spPr>
              <a:xfrm>
                <a:off x="5631635" y="2380472"/>
                <a:ext cx="564864" cy="564868"/>
              </a:xfrm>
              <a:prstGeom prst="ellipse">
                <a:avLst/>
              </a:prstGeom>
              <a:solidFill>
                <a:srgbClr val="E21C2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grpSp>
            <p:nvGrpSpPr>
              <p:cNvPr id="113" name="Group 417">
                <a:extLst>
                  <a:ext uri="{FF2B5EF4-FFF2-40B4-BE49-F238E27FC236}">
                    <a16:creationId xmlns:a16="http://schemas.microsoft.com/office/drawing/2014/main" id="{71ACF4CC-8F45-4D62-978B-1B6ACA8BD336}"/>
                  </a:ext>
                </a:extLst>
              </p:cNvPr>
              <p:cNvGrpSpPr/>
              <p:nvPr/>
            </p:nvGrpSpPr>
            <p:grpSpPr>
              <a:xfrm>
                <a:off x="5722278" y="2031369"/>
                <a:ext cx="383612" cy="1263071"/>
                <a:chOff x="3411942" y="4006410"/>
                <a:chExt cx="119840" cy="394580"/>
              </a:xfrm>
            </p:grpSpPr>
            <p:sp>
              <p:nvSpPr>
                <p:cNvPr id="120" name="Trapezoid 424">
                  <a:extLst>
                    <a:ext uri="{FF2B5EF4-FFF2-40B4-BE49-F238E27FC236}">
                      <a16:creationId xmlns:a16="http://schemas.microsoft.com/office/drawing/2014/main" id="{5C0EB7F8-3F62-49BD-9B8C-AE47F7A872F4}"/>
                    </a:ext>
                  </a:extLst>
                </p:cNvPr>
                <p:cNvSpPr/>
                <p:nvPr/>
              </p:nvSpPr>
              <p:spPr>
                <a:xfrm>
                  <a:off x="3411942" y="4006410"/>
                  <a:ext cx="119840" cy="61205"/>
                </a:xfrm>
                <a:prstGeom prst="trapezoid">
                  <a:avLst/>
                </a:prstGeom>
                <a:solidFill>
                  <a:schemeClr val="bg2"/>
                </a:solidFill>
                <a:ln w="19050" cap="rnd" cmpd="sng">
                  <a:solidFill>
                    <a:schemeClr val="accent5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121" name="Trapezoid 425">
                  <a:extLst>
                    <a:ext uri="{FF2B5EF4-FFF2-40B4-BE49-F238E27FC236}">
                      <a16:creationId xmlns:a16="http://schemas.microsoft.com/office/drawing/2014/main" id="{BEDBD3E8-CD14-49E5-8CF2-5A3D5DDFA9FB}"/>
                    </a:ext>
                  </a:extLst>
                </p:cNvPr>
                <p:cNvSpPr/>
                <p:nvPr/>
              </p:nvSpPr>
              <p:spPr>
                <a:xfrm flipV="1">
                  <a:off x="3411942" y="4339785"/>
                  <a:ext cx="119840" cy="61205"/>
                </a:xfrm>
                <a:prstGeom prst="trapezoid">
                  <a:avLst/>
                </a:prstGeom>
                <a:solidFill>
                  <a:schemeClr val="bg2"/>
                </a:solidFill>
                <a:ln w="19050" cap="rnd" cmpd="sng">
                  <a:solidFill>
                    <a:schemeClr val="accent5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114" name="Group 418">
                <a:extLst>
                  <a:ext uri="{FF2B5EF4-FFF2-40B4-BE49-F238E27FC236}">
                    <a16:creationId xmlns:a16="http://schemas.microsoft.com/office/drawing/2014/main" id="{F4BCB395-4A3A-4F07-900F-7844DC537FF9}"/>
                  </a:ext>
                </a:extLst>
              </p:cNvPr>
              <p:cNvGrpSpPr/>
              <p:nvPr/>
            </p:nvGrpSpPr>
            <p:grpSpPr>
              <a:xfrm rot="1800000">
                <a:off x="5272388" y="2471094"/>
                <a:ext cx="1283395" cy="383617"/>
                <a:chOff x="3266635" y="4142194"/>
                <a:chExt cx="400931" cy="119841"/>
              </a:xfrm>
            </p:grpSpPr>
            <p:sp>
              <p:nvSpPr>
                <p:cNvPr id="118" name="Trapezoid 422">
                  <a:extLst>
                    <a:ext uri="{FF2B5EF4-FFF2-40B4-BE49-F238E27FC236}">
                      <a16:creationId xmlns:a16="http://schemas.microsoft.com/office/drawing/2014/main" id="{6C044CD1-FF5F-43D5-A6FA-BAA266CCA671}"/>
                    </a:ext>
                  </a:extLst>
                </p:cNvPr>
                <p:cNvSpPr/>
                <p:nvPr/>
              </p:nvSpPr>
              <p:spPr>
                <a:xfrm rot="5400000" flipV="1">
                  <a:off x="3237318" y="4171511"/>
                  <a:ext cx="119840" cy="61205"/>
                </a:xfrm>
                <a:prstGeom prst="trapezoid">
                  <a:avLst/>
                </a:prstGeom>
                <a:solidFill>
                  <a:schemeClr val="bg2"/>
                </a:solidFill>
                <a:ln w="19050" cap="rnd" cmpd="sng">
                  <a:solidFill>
                    <a:schemeClr val="accent5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119" name="Trapezoid 423">
                  <a:extLst>
                    <a:ext uri="{FF2B5EF4-FFF2-40B4-BE49-F238E27FC236}">
                      <a16:creationId xmlns:a16="http://schemas.microsoft.com/office/drawing/2014/main" id="{A20230F1-0B7C-4EC8-ADF0-00A38BBE4FB4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77044" y="4171512"/>
                  <a:ext cx="119840" cy="61205"/>
                </a:xfrm>
                <a:prstGeom prst="trapezoid">
                  <a:avLst/>
                </a:prstGeom>
                <a:solidFill>
                  <a:schemeClr val="bg2"/>
                </a:solidFill>
                <a:ln w="19050" cap="rnd" cmpd="sng">
                  <a:solidFill>
                    <a:schemeClr val="accent5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115" name="Group 419">
                <a:extLst>
                  <a:ext uri="{FF2B5EF4-FFF2-40B4-BE49-F238E27FC236}">
                    <a16:creationId xmlns:a16="http://schemas.microsoft.com/office/drawing/2014/main" id="{4B836711-686B-4E56-9972-07D6C2386E55}"/>
                  </a:ext>
                </a:extLst>
              </p:cNvPr>
              <p:cNvGrpSpPr/>
              <p:nvPr/>
            </p:nvGrpSpPr>
            <p:grpSpPr>
              <a:xfrm rot="19800000" flipH="1">
                <a:off x="5272388" y="2471081"/>
                <a:ext cx="1283395" cy="383617"/>
                <a:chOff x="3266635" y="4142194"/>
                <a:chExt cx="400931" cy="119841"/>
              </a:xfrm>
            </p:grpSpPr>
            <p:sp>
              <p:nvSpPr>
                <p:cNvPr id="116" name="Trapezoid 420">
                  <a:extLst>
                    <a:ext uri="{FF2B5EF4-FFF2-40B4-BE49-F238E27FC236}">
                      <a16:creationId xmlns:a16="http://schemas.microsoft.com/office/drawing/2014/main" id="{542B5075-C7E0-4552-AB43-F81D6A17EA6C}"/>
                    </a:ext>
                  </a:extLst>
                </p:cNvPr>
                <p:cNvSpPr/>
                <p:nvPr/>
              </p:nvSpPr>
              <p:spPr>
                <a:xfrm rot="5400000" flipV="1">
                  <a:off x="3237318" y="4171511"/>
                  <a:ext cx="119840" cy="61205"/>
                </a:xfrm>
                <a:prstGeom prst="trapezoid">
                  <a:avLst/>
                </a:prstGeom>
                <a:solidFill>
                  <a:schemeClr val="bg2"/>
                </a:solidFill>
                <a:ln w="19050" cap="rnd" cmpd="sng">
                  <a:solidFill>
                    <a:schemeClr val="accent5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117" name="Trapezoid 421">
                  <a:extLst>
                    <a:ext uri="{FF2B5EF4-FFF2-40B4-BE49-F238E27FC236}">
                      <a16:creationId xmlns:a16="http://schemas.microsoft.com/office/drawing/2014/main" id="{158EFCE7-91BB-468E-8F88-2A3AE3500BFB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77044" y="4171512"/>
                  <a:ext cx="119840" cy="61205"/>
                </a:xfrm>
                <a:prstGeom prst="trapezoid">
                  <a:avLst/>
                </a:prstGeom>
                <a:solidFill>
                  <a:schemeClr val="bg2"/>
                </a:solidFill>
                <a:ln w="19050" cap="rnd" cmpd="sng">
                  <a:solidFill>
                    <a:schemeClr val="accent5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</p:grpSp>
        <p:grpSp>
          <p:nvGrpSpPr>
            <p:cNvPr id="18" name="Group 426">
              <a:extLst>
                <a:ext uri="{FF2B5EF4-FFF2-40B4-BE49-F238E27FC236}">
                  <a16:creationId xmlns:a16="http://schemas.microsoft.com/office/drawing/2014/main" id="{3A6458FE-42CB-4508-BC0C-FD8AE2A43B1F}"/>
                </a:ext>
              </a:extLst>
            </p:cNvPr>
            <p:cNvGrpSpPr/>
            <p:nvPr>
              <p:custDataLst>
                <p:tags r:id="rId13"/>
              </p:custDataLst>
            </p:nvPr>
          </p:nvGrpSpPr>
          <p:grpSpPr>
            <a:xfrm>
              <a:off x="7114635" y="2919599"/>
              <a:ext cx="649520" cy="788165"/>
              <a:chOff x="7811582" y="557102"/>
              <a:chExt cx="1270422" cy="1689759"/>
            </a:xfrm>
          </p:grpSpPr>
          <p:sp>
            <p:nvSpPr>
              <p:cNvPr id="105" name="Rounded Rectangle 427">
                <a:extLst>
                  <a:ext uri="{FF2B5EF4-FFF2-40B4-BE49-F238E27FC236}">
                    <a16:creationId xmlns:a16="http://schemas.microsoft.com/office/drawing/2014/main" id="{AAE261C1-D3EF-4963-8BA1-FA4407A2F6A1}"/>
                  </a:ext>
                </a:extLst>
              </p:cNvPr>
              <p:cNvSpPr/>
              <p:nvPr/>
            </p:nvSpPr>
            <p:spPr>
              <a:xfrm>
                <a:off x="7811582" y="1323556"/>
                <a:ext cx="1270422" cy="860945"/>
              </a:xfrm>
              <a:prstGeom prst="roundRect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06" name="Isosceles Triangle 428">
                <a:extLst>
                  <a:ext uri="{FF2B5EF4-FFF2-40B4-BE49-F238E27FC236}">
                    <a16:creationId xmlns:a16="http://schemas.microsoft.com/office/drawing/2014/main" id="{C79C75D2-FCA8-4DDB-ACD4-80D69BC64341}"/>
                  </a:ext>
                </a:extLst>
              </p:cNvPr>
              <p:cNvSpPr/>
              <p:nvPr/>
            </p:nvSpPr>
            <p:spPr>
              <a:xfrm rot="10800000">
                <a:off x="8207038" y="1334048"/>
                <a:ext cx="479518" cy="912813"/>
              </a:xfrm>
              <a:prstGeom prst="triangle">
                <a:avLst/>
              </a:prstGeom>
              <a:solidFill>
                <a:schemeClr val="accent6"/>
              </a:solidFill>
              <a:ln w="28575" cap="rnd" cmpd="sng">
                <a:solidFill>
                  <a:schemeClr val="accent6"/>
                </a:solidFill>
                <a:rou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grpSp>
            <p:nvGrpSpPr>
              <p:cNvPr id="107" name="Group 429">
                <a:extLst>
                  <a:ext uri="{FF2B5EF4-FFF2-40B4-BE49-F238E27FC236}">
                    <a16:creationId xmlns:a16="http://schemas.microsoft.com/office/drawing/2014/main" id="{B865ACD9-EE51-4554-9A16-CACBE002EF6D}"/>
                  </a:ext>
                </a:extLst>
              </p:cNvPr>
              <p:cNvGrpSpPr/>
              <p:nvPr/>
            </p:nvGrpSpPr>
            <p:grpSpPr>
              <a:xfrm>
                <a:off x="8351241" y="1367954"/>
                <a:ext cx="191105" cy="404672"/>
                <a:chOff x="1962511" y="1247775"/>
                <a:chExt cx="241405" cy="511182"/>
              </a:xfrm>
            </p:grpSpPr>
            <p:sp>
              <p:nvSpPr>
                <p:cNvPr id="109" name="Isosceles Triangle 431">
                  <a:extLst>
                    <a:ext uri="{FF2B5EF4-FFF2-40B4-BE49-F238E27FC236}">
                      <a16:creationId xmlns:a16="http://schemas.microsoft.com/office/drawing/2014/main" id="{6A83C8A9-3DDA-4045-A294-4329374303EC}"/>
                    </a:ext>
                  </a:extLst>
                </p:cNvPr>
                <p:cNvSpPr/>
                <p:nvPr/>
              </p:nvSpPr>
              <p:spPr>
                <a:xfrm>
                  <a:off x="1962511" y="1247775"/>
                  <a:ext cx="241405" cy="161925"/>
                </a:xfrm>
                <a:prstGeom prst="triangle">
                  <a:avLst/>
                </a:prstGeom>
                <a:solidFill>
                  <a:schemeClr val="accent1"/>
                </a:solidFill>
                <a:ln w="28575" cap="rnd" cmpd="sng">
                  <a:solidFill>
                    <a:srgbClr val="0096D6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110" name="Isosceles Triangle 432">
                  <a:extLst>
                    <a:ext uri="{FF2B5EF4-FFF2-40B4-BE49-F238E27FC236}">
                      <a16:creationId xmlns:a16="http://schemas.microsoft.com/office/drawing/2014/main" id="{FD98A44F-74D2-4C96-BC50-5806DCEA47C4}"/>
                    </a:ext>
                  </a:extLst>
                </p:cNvPr>
                <p:cNvSpPr/>
                <p:nvPr/>
              </p:nvSpPr>
              <p:spPr>
                <a:xfrm rot="10800000">
                  <a:off x="1966447" y="1416054"/>
                  <a:ext cx="233533" cy="342903"/>
                </a:xfrm>
                <a:prstGeom prst="triangle">
                  <a:avLst/>
                </a:prstGeom>
                <a:solidFill>
                  <a:schemeClr val="accent1"/>
                </a:solidFill>
                <a:ln w="28575" cap="rnd" cmpd="sng">
                  <a:solidFill>
                    <a:srgbClr val="0096D6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504442"/>
                  <a:endParaRPr lang="en-US" sz="1998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sp>
            <p:nvSpPr>
              <p:cNvPr id="108" name="Oval 430">
                <a:extLst>
                  <a:ext uri="{FF2B5EF4-FFF2-40B4-BE49-F238E27FC236}">
                    <a16:creationId xmlns:a16="http://schemas.microsoft.com/office/drawing/2014/main" id="{46F5B196-82A2-48CD-8771-C515B8711D83}"/>
                  </a:ext>
                </a:extLst>
              </p:cNvPr>
              <p:cNvSpPr/>
              <p:nvPr/>
            </p:nvSpPr>
            <p:spPr>
              <a:xfrm>
                <a:off x="8100316" y="557102"/>
                <a:ext cx="692956" cy="69295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4442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D439AB59-A3DB-4E36-9292-00F13DD32E1C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 rot="20558898">
              <a:off x="-630366" y="3923425"/>
              <a:ext cx="891295" cy="569226"/>
            </a:xfrm>
            <a:custGeom>
              <a:avLst/>
              <a:gdLst>
                <a:gd name="T0" fmla="*/ 39 w 286"/>
                <a:gd name="T1" fmla="*/ 160 h 201"/>
                <a:gd name="T2" fmla="*/ 12 w 286"/>
                <a:gd name="T3" fmla="*/ 154 h 201"/>
                <a:gd name="T4" fmla="*/ 29 w 286"/>
                <a:gd name="T5" fmla="*/ 141 h 201"/>
                <a:gd name="T6" fmla="*/ 54 w 286"/>
                <a:gd name="T7" fmla="*/ 90 h 201"/>
                <a:gd name="T8" fmla="*/ 94 w 286"/>
                <a:gd name="T9" fmla="*/ 101 h 201"/>
                <a:gd name="T10" fmla="*/ 116 w 286"/>
                <a:gd name="T11" fmla="*/ 123 h 201"/>
                <a:gd name="T12" fmla="*/ 138 w 286"/>
                <a:gd name="T13" fmla="*/ 142 h 201"/>
                <a:gd name="T14" fmla="*/ 150 w 286"/>
                <a:gd name="T15" fmla="*/ 149 h 201"/>
                <a:gd name="T16" fmla="*/ 175 w 286"/>
                <a:gd name="T17" fmla="*/ 175 h 201"/>
                <a:gd name="T18" fmla="*/ 191 w 286"/>
                <a:gd name="T19" fmla="*/ 167 h 201"/>
                <a:gd name="T20" fmla="*/ 179 w 286"/>
                <a:gd name="T21" fmla="*/ 120 h 201"/>
                <a:gd name="T22" fmla="*/ 214 w 286"/>
                <a:gd name="T23" fmla="*/ 164 h 201"/>
                <a:gd name="T24" fmla="*/ 191 w 286"/>
                <a:gd name="T25" fmla="*/ 108 h 201"/>
                <a:gd name="T26" fmla="*/ 229 w 286"/>
                <a:gd name="T27" fmla="*/ 148 h 201"/>
                <a:gd name="T28" fmla="*/ 239 w 286"/>
                <a:gd name="T29" fmla="*/ 144 h 201"/>
                <a:gd name="T30" fmla="*/ 105 w 286"/>
                <a:gd name="T31" fmla="*/ 49 h 201"/>
                <a:gd name="T32" fmla="*/ 12 w 286"/>
                <a:gd name="T33" fmla="*/ 56 h 201"/>
                <a:gd name="T34" fmla="*/ 50 w 286"/>
                <a:gd name="T35" fmla="*/ 45 h 201"/>
                <a:gd name="T36" fmla="*/ 97 w 286"/>
                <a:gd name="T37" fmla="*/ 0 h 201"/>
                <a:gd name="T38" fmla="*/ 176 w 286"/>
                <a:gd name="T39" fmla="*/ 3 h 201"/>
                <a:gd name="T40" fmla="*/ 231 w 286"/>
                <a:gd name="T41" fmla="*/ 41 h 201"/>
                <a:gd name="T42" fmla="*/ 270 w 286"/>
                <a:gd name="T43" fmla="*/ 53 h 201"/>
                <a:gd name="T44" fmla="*/ 185 w 286"/>
                <a:gd name="T45" fmla="*/ 34 h 201"/>
                <a:gd name="T46" fmla="*/ 99 w 286"/>
                <a:gd name="T47" fmla="*/ 13 h 201"/>
                <a:gd name="T48" fmla="*/ 98 w 286"/>
                <a:gd name="T49" fmla="*/ 38 h 201"/>
                <a:gd name="T50" fmla="*/ 208 w 286"/>
                <a:gd name="T51" fmla="*/ 63 h 201"/>
                <a:gd name="T52" fmla="*/ 250 w 286"/>
                <a:gd name="T53" fmla="*/ 138 h 201"/>
                <a:gd name="T54" fmla="*/ 286 w 286"/>
                <a:gd name="T55" fmla="*/ 141 h 201"/>
                <a:gd name="T56" fmla="*/ 252 w 286"/>
                <a:gd name="T57" fmla="*/ 154 h 201"/>
                <a:gd name="T58" fmla="*/ 230 w 286"/>
                <a:gd name="T59" fmla="*/ 164 h 201"/>
                <a:gd name="T60" fmla="*/ 204 w 286"/>
                <a:gd name="T61" fmla="*/ 177 h 201"/>
                <a:gd name="T62" fmla="*/ 174 w 286"/>
                <a:gd name="T63" fmla="*/ 191 h 201"/>
                <a:gd name="T64" fmla="*/ 144 w 286"/>
                <a:gd name="T65" fmla="*/ 190 h 201"/>
                <a:gd name="T66" fmla="*/ 141 w 286"/>
                <a:gd name="T67" fmla="*/ 188 h 201"/>
                <a:gd name="T68" fmla="*/ 112 w 286"/>
                <a:gd name="T69" fmla="*/ 189 h 201"/>
                <a:gd name="T70" fmla="*/ 82 w 286"/>
                <a:gd name="T71" fmla="*/ 178 h 201"/>
                <a:gd name="T72" fmla="*/ 55 w 286"/>
                <a:gd name="T73" fmla="*/ 16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86" h="201">
                  <a:moveTo>
                    <a:pt x="55" y="162"/>
                  </a:moveTo>
                  <a:cubicBezTo>
                    <a:pt x="50" y="163"/>
                    <a:pt x="44" y="163"/>
                    <a:pt x="39" y="160"/>
                  </a:cubicBezTo>
                  <a:cubicBezTo>
                    <a:pt x="36" y="158"/>
                    <a:pt x="33" y="156"/>
                    <a:pt x="32" y="153"/>
                  </a:cubicBezTo>
                  <a:cubicBezTo>
                    <a:pt x="12" y="154"/>
                    <a:pt x="12" y="154"/>
                    <a:pt x="12" y="154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29" y="141"/>
                    <a:pt x="29" y="141"/>
                    <a:pt x="29" y="141"/>
                  </a:cubicBezTo>
                  <a:cubicBezTo>
                    <a:pt x="29" y="137"/>
                    <a:pt x="30" y="134"/>
                    <a:pt x="31" y="13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60" y="79"/>
                    <a:pt x="74" y="76"/>
                    <a:pt x="84" y="82"/>
                  </a:cubicBezTo>
                  <a:cubicBezTo>
                    <a:pt x="91" y="86"/>
                    <a:pt x="95" y="94"/>
                    <a:pt x="94" y="101"/>
                  </a:cubicBezTo>
                  <a:cubicBezTo>
                    <a:pt x="98" y="101"/>
                    <a:pt x="102" y="102"/>
                    <a:pt x="106" y="104"/>
                  </a:cubicBezTo>
                  <a:cubicBezTo>
                    <a:pt x="113" y="108"/>
                    <a:pt x="117" y="116"/>
                    <a:pt x="116" y="123"/>
                  </a:cubicBezTo>
                  <a:cubicBezTo>
                    <a:pt x="121" y="123"/>
                    <a:pt x="124" y="124"/>
                    <a:pt x="128" y="126"/>
                  </a:cubicBezTo>
                  <a:cubicBezTo>
                    <a:pt x="134" y="130"/>
                    <a:pt x="137" y="136"/>
                    <a:pt x="138" y="142"/>
                  </a:cubicBezTo>
                  <a:cubicBezTo>
                    <a:pt x="141" y="142"/>
                    <a:pt x="143" y="144"/>
                    <a:pt x="146" y="145"/>
                  </a:cubicBezTo>
                  <a:cubicBezTo>
                    <a:pt x="148" y="146"/>
                    <a:pt x="150" y="149"/>
                    <a:pt x="150" y="149"/>
                  </a:cubicBezTo>
                  <a:cubicBezTo>
                    <a:pt x="157" y="142"/>
                    <a:pt x="157" y="142"/>
                    <a:pt x="157" y="142"/>
                  </a:cubicBezTo>
                  <a:cubicBezTo>
                    <a:pt x="175" y="175"/>
                    <a:pt x="175" y="175"/>
                    <a:pt x="175" y="175"/>
                  </a:cubicBezTo>
                  <a:cubicBezTo>
                    <a:pt x="178" y="180"/>
                    <a:pt x="183" y="182"/>
                    <a:pt x="187" y="179"/>
                  </a:cubicBezTo>
                  <a:cubicBezTo>
                    <a:pt x="194" y="176"/>
                    <a:pt x="193" y="170"/>
                    <a:pt x="191" y="167"/>
                  </a:cubicBezTo>
                  <a:cubicBezTo>
                    <a:pt x="170" y="129"/>
                    <a:pt x="170" y="129"/>
                    <a:pt x="170" y="129"/>
                  </a:cubicBezTo>
                  <a:cubicBezTo>
                    <a:pt x="179" y="120"/>
                    <a:pt x="179" y="120"/>
                    <a:pt x="179" y="120"/>
                  </a:cubicBezTo>
                  <a:cubicBezTo>
                    <a:pt x="202" y="160"/>
                    <a:pt x="202" y="160"/>
                    <a:pt x="202" y="160"/>
                  </a:cubicBezTo>
                  <a:cubicBezTo>
                    <a:pt x="204" y="164"/>
                    <a:pt x="210" y="166"/>
                    <a:pt x="214" y="164"/>
                  </a:cubicBezTo>
                  <a:cubicBezTo>
                    <a:pt x="220" y="161"/>
                    <a:pt x="218" y="155"/>
                    <a:pt x="217" y="152"/>
                  </a:cubicBezTo>
                  <a:cubicBezTo>
                    <a:pt x="191" y="108"/>
                    <a:pt x="191" y="108"/>
                    <a:pt x="191" y="108"/>
                  </a:cubicBezTo>
                  <a:cubicBezTo>
                    <a:pt x="200" y="99"/>
                    <a:pt x="200" y="99"/>
                    <a:pt x="200" y="99"/>
                  </a:cubicBezTo>
                  <a:cubicBezTo>
                    <a:pt x="229" y="148"/>
                    <a:pt x="229" y="148"/>
                    <a:pt x="229" y="148"/>
                  </a:cubicBezTo>
                  <a:cubicBezTo>
                    <a:pt x="231" y="152"/>
                    <a:pt x="235" y="154"/>
                    <a:pt x="238" y="151"/>
                  </a:cubicBezTo>
                  <a:cubicBezTo>
                    <a:pt x="240" y="150"/>
                    <a:pt x="241" y="147"/>
                    <a:pt x="239" y="144"/>
                  </a:cubicBezTo>
                  <a:cubicBezTo>
                    <a:pt x="203" y="75"/>
                    <a:pt x="203" y="75"/>
                    <a:pt x="203" y="75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97" y="57"/>
                    <a:pt x="73" y="76"/>
                    <a:pt x="49" y="57"/>
                  </a:cubicBezTo>
                  <a:cubicBezTo>
                    <a:pt x="12" y="56"/>
                    <a:pt x="12" y="56"/>
                    <a:pt x="12" y="56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93" y="2"/>
                    <a:pt x="93" y="2"/>
                    <a:pt x="93" y="2"/>
                  </a:cubicBezTo>
                  <a:cubicBezTo>
                    <a:pt x="93" y="1"/>
                    <a:pt x="96" y="0"/>
                    <a:pt x="97" y="0"/>
                  </a:cubicBezTo>
                  <a:cubicBezTo>
                    <a:pt x="171" y="1"/>
                    <a:pt x="171" y="1"/>
                    <a:pt x="171" y="1"/>
                  </a:cubicBezTo>
                  <a:cubicBezTo>
                    <a:pt x="173" y="1"/>
                    <a:pt x="176" y="2"/>
                    <a:pt x="176" y="3"/>
                  </a:cubicBezTo>
                  <a:cubicBezTo>
                    <a:pt x="195" y="26"/>
                    <a:pt x="195" y="26"/>
                    <a:pt x="195" y="26"/>
                  </a:cubicBezTo>
                  <a:cubicBezTo>
                    <a:pt x="198" y="30"/>
                    <a:pt x="206" y="42"/>
                    <a:pt x="231" y="41"/>
                  </a:cubicBezTo>
                  <a:cubicBezTo>
                    <a:pt x="258" y="41"/>
                    <a:pt x="258" y="41"/>
                    <a:pt x="258" y="41"/>
                  </a:cubicBezTo>
                  <a:cubicBezTo>
                    <a:pt x="270" y="53"/>
                    <a:pt x="270" y="53"/>
                    <a:pt x="270" y="53"/>
                  </a:cubicBezTo>
                  <a:cubicBezTo>
                    <a:pt x="232" y="54"/>
                    <a:pt x="232" y="54"/>
                    <a:pt x="232" y="54"/>
                  </a:cubicBezTo>
                  <a:cubicBezTo>
                    <a:pt x="199" y="55"/>
                    <a:pt x="190" y="39"/>
                    <a:pt x="185" y="34"/>
                  </a:cubicBezTo>
                  <a:cubicBezTo>
                    <a:pt x="169" y="13"/>
                    <a:pt x="169" y="13"/>
                    <a:pt x="169" y="13"/>
                  </a:cubicBezTo>
                  <a:cubicBezTo>
                    <a:pt x="99" y="13"/>
                    <a:pt x="99" y="13"/>
                    <a:pt x="99" y="13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81" y="59"/>
                    <a:pt x="98" y="38"/>
                    <a:pt x="98" y="38"/>
                  </a:cubicBezTo>
                  <a:cubicBezTo>
                    <a:pt x="100" y="36"/>
                    <a:pt x="102" y="35"/>
                    <a:pt x="105" y="36"/>
                  </a:cubicBezTo>
                  <a:cubicBezTo>
                    <a:pt x="208" y="63"/>
                    <a:pt x="208" y="63"/>
                    <a:pt x="208" y="63"/>
                  </a:cubicBezTo>
                  <a:cubicBezTo>
                    <a:pt x="210" y="63"/>
                    <a:pt x="212" y="65"/>
                    <a:pt x="212" y="66"/>
                  </a:cubicBezTo>
                  <a:cubicBezTo>
                    <a:pt x="250" y="138"/>
                    <a:pt x="250" y="138"/>
                    <a:pt x="250" y="138"/>
                  </a:cubicBezTo>
                  <a:cubicBezTo>
                    <a:pt x="251" y="139"/>
                    <a:pt x="251" y="140"/>
                    <a:pt x="252" y="141"/>
                  </a:cubicBezTo>
                  <a:cubicBezTo>
                    <a:pt x="252" y="142"/>
                    <a:pt x="286" y="141"/>
                    <a:pt x="286" y="141"/>
                  </a:cubicBezTo>
                  <a:cubicBezTo>
                    <a:pt x="273" y="154"/>
                    <a:pt x="273" y="154"/>
                    <a:pt x="273" y="154"/>
                  </a:cubicBezTo>
                  <a:cubicBezTo>
                    <a:pt x="252" y="154"/>
                    <a:pt x="252" y="154"/>
                    <a:pt x="252" y="154"/>
                  </a:cubicBezTo>
                  <a:cubicBezTo>
                    <a:pt x="251" y="157"/>
                    <a:pt x="248" y="160"/>
                    <a:pt x="243" y="163"/>
                  </a:cubicBezTo>
                  <a:cubicBezTo>
                    <a:pt x="239" y="165"/>
                    <a:pt x="234" y="165"/>
                    <a:pt x="230" y="164"/>
                  </a:cubicBezTo>
                  <a:cubicBezTo>
                    <a:pt x="228" y="168"/>
                    <a:pt x="225" y="172"/>
                    <a:pt x="220" y="175"/>
                  </a:cubicBezTo>
                  <a:cubicBezTo>
                    <a:pt x="215" y="178"/>
                    <a:pt x="209" y="178"/>
                    <a:pt x="204" y="177"/>
                  </a:cubicBezTo>
                  <a:cubicBezTo>
                    <a:pt x="203" y="182"/>
                    <a:pt x="199" y="187"/>
                    <a:pt x="193" y="190"/>
                  </a:cubicBezTo>
                  <a:cubicBezTo>
                    <a:pt x="187" y="194"/>
                    <a:pt x="180" y="194"/>
                    <a:pt x="174" y="191"/>
                  </a:cubicBezTo>
                  <a:cubicBezTo>
                    <a:pt x="173" y="193"/>
                    <a:pt x="171" y="195"/>
                    <a:pt x="168" y="197"/>
                  </a:cubicBezTo>
                  <a:cubicBezTo>
                    <a:pt x="159" y="201"/>
                    <a:pt x="149" y="198"/>
                    <a:pt x="144" y="190"/>
                  </a:cubicBezTo>
                  <a:cubicBezTo>
                    <a:pt x="142" y="186"/>
                    <a:pt x="142" y="186"/>
                    <a:pt x="142" y="186"/>
                  </a:cubicBezTo>
                  <a:cubicBezTo>
                    <a:pt x="141" y="188"/>
                    <a:pt x="141" y="188"/>
                    <a:pt x="141" y="188"/>
                  </a:cubicBezTo>
                  <a:cubicBezTo>
                    <a:pt x="136" y="197"/>
                    <a:pt x="126" y="199"/>
                    <a:pt x="117" y="194"/>
                  </a:cubicBezTo>
                  <a:cubicBezTo>
                    <a:pt x="115" y="193"/>
                    <a:pt x="113" y="192"/>
                    <a:pt x="112" y="189"/>
                  </a:cubicBezTo>
                  <a:cubicBezTo>
                    <a:pt x="106" y="193"/>
                    <a:pt x="98" y="193"/>
                    <a:pt x="91" y="190"/>
                  </a:cubicBezTo>
                  <a:cubicBezTo>
                    <a:pt x="86" y="187"/>
                    <a:pt x="83" y="183"/>
                    <a:pt x="82" y="178"/>
                  </a:cubicBezTo>
                  <a:cubicBezTo>
                    <a:pt x="77" y="179"/>
                    <a:pt x="71" y="178"/>
                    <a:pt x="65" y="175"/>
                  </a:cubicBezTo>
                  <a:cubicBezTo>
                    <a:pt x="60" y="172"/>
                    <a:pt x="57" y="167"/>
                    <a:pt x="55" y="162"/>
                  </a:cubicBezTo>
                  <a:close/>
                </a:path>
              </a:pathLst>
            </a:custGeom>
            <a:solidFill>
              <a:schemeClr val="tx2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101456" tIns="50729" rIns="101456" bIns="50729" numCol="1" anchor="t" anchorCtr="0" compatLnSpc="1">
              <a:prstTxWarp prst="textNoShape">
                <a:avLst/>
              </a:prstTxWarp>
            </a:bodyPr>
            <a:lstStyle/>
            <a:p>
              <a:pPr defTabSz="504442"/>
              <a:endParaRPr lang="en-US" sz="1998">
                <a:solidFill>
                  <a:prstClr val="black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grpSp>
          <p:nvGrpSpPr>
            <p:cNvPr id="20" name="Group 434">
              <a:extLst>
                <a:ext uri="{FF2B5EF4-FFF2-40B4-BE49-F238E27FC236}">
                  <a16:creationId xmlns:a16="http://schemas.microsoft.com/office/drawing/2014/main" id="{BF876C57-0309-4FCF-9B5D-967E0BE2F3CA}"/>
                </a:ext>
              </a:extLst>
            </p:cNvPr>
            <p:cNvGrpSpPr/>
            <p:nvPr>
              <p:custDataLst>
                <p:tags r:id="rId15"/>
              </p:custDataLst>
            </p:nvPr>
          </p:nvGrpSpPr>
          <p:grpSpPr>
            <a:xfrm>
              <a:off x="-331438" y="3087332"/>
              <a:ext cx="1034958" cy="535459"/>
              <a:chOff x="-2037389" y="1780375"/>
              <a:chExt cx="6532598" cy="3379787"/>
            </a:xfrm>
          </p:grpSpPr>
          <p:sp>
            <p:nvSpPr>
              <p:cNvPr id="103" name="Freeform 6">
                <a:extLst>
                  <a:ext uri="{FF2B5EF4-FFF2-40B4-BE49-F238E27FC236}">
                    <a16:creationId xmlns:a16="http://schemas.microsoft.com/office/drawing/2014/main" id="{D989FA76-FD30-4698-8251-9AC07FB9CF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2037389" y="1864511"/>
                <a:ext cx="4908550" cy="3295651"/>
              </a:xfrm>
              <a:custGeom>
                <a:avLst/>
                <a:gdLst>
                  <a:gd name="T0" fmla="*/ 452 w 639"/>
                  <a:gd name="T1" fmla="*/ 184 h 429"/>
                  <a:gd name="T2" fmla="*/ 207 w 639"/>
                  <a:gd name="T3" fmla="*/ 184 h 429"/>
                  <a:gd name="T4" fmla="*/ 180 w 639"/>
                  <a:gd name="T5" fmla="*/ 429 h 429"/>
                  <a:gd name="T6" fmla="*/ 466 w 639"/>
                  <a:gd name="T7" fmla="*/ 429 h 429"/>
                  <a:gd name="T8" fmla="*/ 452 w 639"/>
                  <a:gd name="T9" fmla="*/ 184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39" h="429">
                    <a:moveTo>
                      <a:pt x="452" y="184"/>
                    </a:moveTo>
                    <a:cubicBezTo>
                      <a:pt x="461" y="37"/>
                      <a:pt x="223" y="0"/>
                      <a:pt x="207" y="184"/>
                    </a:cubicBezTo>
                    <a:cubicBezTo>
                      <a:pt x="111" y="170"/>
                      <a:pt x="0" y="343"/>
                      <a:pt x="180" y="429"/>
                    </a:cubicBezTo>
                    <a:cubicBezTo>
                      <a:pt x="466" y="429"/>
                      <a:pt x="466" y="429"/>
                      <a:pt x="466" y="429"/>
                    </a:cubicBezTo>
                    <a:cubicBezTo>
                      <a:pt x="639" y="388"/>
                      <a:pt x="581" y="176"/>
                      <a:pt x="452" y="184"/>
                    </a:cubicBezTo>
                    <a:close/>
                  </a:path>
                </a:pathLst>
              </a:custGeom>
              <a:solidFill>
                <a:srgbClr val="E21C23"/>
              </a:solidFill>
              <a:ln>
                <a:noFill/>
              </a:ln>
            </p:spPr>
            <p:txBody>
              <a:bodyPr vert="horz" wrap="square" lIns="101506" tIns="50752" rIns="101506" bIns="50752" numCol="1" anchor="t" anchorCtr="0" compatLnSpc="1">
                <a:prstTxWarp prst="textNoShape">
                  <a:avLst/>
                </a:prstTxWarp>
              </a:bodyPr>
              <a:lstStyle/>
              <a:p>
                <a:pPr defTabSz="504442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04" name="Freeform 7">
                <a:extLst>
                  <a:ext uri="{FF2B5EF4-FFF2-40B4-BE49-F238E27FC236}">
                    <a16:creationId xmlns:a16="http://schemas.microsoft.com/office/drawing/2014/main" id="{54A30F80-41EB-4ECB-A7AA-C1B8CB40B3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21795" y="1780375"/>
                <a:ext cx="3173414" cy="3341690"/>
              </a:xfrm>
              <a:custGeom>
                <a:avLst/>
                <a:gdLst>
                  <a:gd name="T0" fmla="*/ 234 w 413"/>
                  <a:gd name="T1" fmla="*/ 195 h 435"/>
                  <a:gd name="T2" fmla="*/ 3 w 413"/>
                  <a:gd name="T3" fmla="*/ 128 h 435"/>
                  <a:gd name="T4" fmla="*/ 3 w 413"/>
                  <a:gd name="T5" fmla="*/ 127 h 435"/>
                  <a:gd name="T6" fmla="*/ 0 w 413"/>
                  <a:gd name="T7" fmla="*/ 136 h 435"/>
                  <a:gd name="T8" fmla="*/ 15 w 413"/>
                  <a:gd name="T9" fmla="*/ 151 h 435"/>
                  <a:gd name="T10" fmla="*/ 28 w 413"/>
                  <a:gd name="T11" fmla="*/ 141 h 435"/>
                  <a:gd name="T12" fmla="*/ 203 w 413"/>
                  <a:gd name="T13" fmla="*/ 224 h 435"/>
                  <a:gd name="T14" fmla="*/ 258 w 413"/>
                  <a:gd name="T15" fmla="*/ 409 h 435"/>
                  <a:gd name="T16" fmla="*/ 111 w 413"/>
                  <a:gd name="T17" fmla="*/ 409 h 435"/>
                  <a:gd name="T18" fmla="*/ 100 w 413"/>
                  <a:gd name="T19" fmla="*/ 422 h 435"/>
                  <a:gd name="T20" fmla="*/ 111 w 413"/>
                  <a:gd name="T21" fmla="*/ 435 h 435"/>
                  <a:gd name="T22" fmla="*/ 262 w 413"/>
                  <a:gd name="T23" fmla="*/ 435 h 435"/>
                  <a:gd name="T24" fmla="*/ 234 w 413"/>
                  <a:gd name="T25" fmla="*/ 195 h 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3" h="435">
                    <a:moveTo>
                      <a:pt x="234" y="195"/>
                    </a:moveTo>
                    <a:cubicBezTo>
                      <a:pt x="254" y="80"/>
                      <a:pt x="89" y="0"/>
                      <a:pt x="3" y="128"/>
                    </a:cubicBezTo>
                    <a:cubicBezTo>
                      <a:pt x="3" y="127"/>
                      <a:pt x="3" y="127"/>
                      <a:pt x="3" y="127"/>
                    </a:cubicBezTo>
                    <a:cubicBezTo>
                      <a:pt x="1" y="130"/>
                      <a:pt x="0" y="133"/>
                      <a:pt x="0" y="136"/>
                    </a:cubicBezTo>
                    <a:cubicBezTo>
                      <a:pt x="0" y="144"/>
                      <a:pt x="6" y="151"/>
                      <a:pt x="15" y="151"/>
                    </a:cubicBezTo>
                    <a:cubicBezTo>
                      <a:pt x="21" y="151"/>
                      <a:pt x="24" y="148"/>
                      <a:pt x="28" y="141"/>
                    </a:cubicBezTo>
                    <a:cubicBezTo>
                      <a:pt x="99" y="39"/>
                      <a:pt x="224" y="99"/>
                      <a:pt x="203" y="224"/>
                    </a:cubicBezTo>
                    <a:cubicBezTo>
                      <a:pt x="346" y="201"/>
                      <a:pt x="390" y="361"/>
                      <a:pt x="258" y="409"/>
                    </a:cubicBezTo>
                    <a:cubicBezTo>
                      <a:pt x="111" y="409"/>
                      <a:pt x="111" y="409"/>
                      <a:pt x="111" y="409"/>
                    </a:cubicBezTo>
                    <a:cubicBezTo>
                      <a:pt x="105" y="410"/>
                      <a:pt x="100" y="415"/>
                      <a:pt x="100" y="422"/>
                    </a:cubicBezTo>
                    <a:cubicBezTo>
                      <a:pt x="100" y="428"/>
                      <a:pt x="105" y="434"/>
                      <a:pt x="111" y="435"/>
                    </a:cubicBezTo>
                    <a:cubicBezTo>
                      <a:pt x="262" y="435"/>
                      <a:pt x="262" y="435"/>
                      <a:pt x="262" y="435"/>
                    </a:cubicBezTo>
                    <a:cubicBezTo>
                      <a:pt x="402" y="411"/>
                      <a:pt x="413" y="199"/>
                      <a:pt x="234" y="19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101506" tIns="50752" rIns="101506" bIns="50752" numCol="1" anchor="t" anchorCtr="0" compatLnSpc="1">
                <a:prstTxWarp prst="textNoShape">
                  <a:avLst/>
                </a:prstTxWarp>
              </a:bodyPr>
              <a:lstStyle/>
              <a:p>
                <a:pPr defTabSz="504442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sp>
          <p:nvSpPr>
            <p:cNvPr id="21" name="Rectangle 437">
              <a:extLst>
                <a:ext uri="{FF2B5EF4-FFF2-40B4-BE49-F238E27FC236}">
                  <a16:creationId xmlns:a16="http://schemas.microsoft.com/office/drawing/2014/main" id="{1044927D-95BA-4FC7-BD86-5C30FAF87DCF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1467006" y="2797815"/>
              <a:ext cx="2443068" cy="55592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algn="r" defTabSz="1014582"/>
              <a:r>
                <a:rPr lang="en-US" sz="2665" kern="0">
                  <a:solidFill>
                    <a:schemeClr val="accent4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managed cloud</a:t>
              </a:r>
            </a:p>
          </p:txBody>
        </p:sp>
        <p:sp>
          <p:nvSpPr>
            <p:cNvPr id="22" name="Rectangle 439">
              <a:extLst>
                <a:ext uri="{FF2B5EF4-FFF2-40B4-BE49-F238E27FC236}">
                  <a16:creationId xmlns:a16="http://schemas.microsoft.com/office/drawing/2014/main" id="{95AB2238-ED25-4B72-BB7E-3A932E45D473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 rot="16200000">
              <a:off x="2127656" y="3333350"/>
              <a:ext cx="789798" cy="5101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>
                <a:defRPr/>
              </a:pPr>
              <a:r>
                <a:rPr lang="en-US" sz="2665" kern="0" err="1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SaaS</a:t>
              </a:r>
              <a:endParaRPr lang="en-US" sz="2665" kern="0">
                <a:solidFill>
                  <a:srgbClr val="87898B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23" name="Rectangle 440">
              <a:extLst>
                <a:ext uri="{FF2B5EF4-FFF2-40B4-BE49-F238E27FC236}">
                  <a16:creationId xmlns:a16="http://schemas.microsoft.com/office/drawing/2014/main" id="{8ECB41E0-5365-40B5-B854-3D289CD2BE2A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 rot="16200000">
              <a:off x="955041" y="1590328"/>
              <a:ext cx="1775608" cy="667322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>
                <a:defRPr/>
              </a:pPr>
              <a:r>
                <a:rPr lang="en-US" sz="1998" b="1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Storage</a:t>
              </a:r>
            </a:p>
          </p:txBody>
        </p:sp>
        <p:sp>
          <p:nvSpPr>
            <p:cNvPr id="24" name="Rounded Rectangle 442">
              <a:extLst>
                <a:ext uri="{FF2B5EF4-FFF2-40B4-BE49-F238E27FC236}">
                  <a16:creationId xmlns:a16="http://schemas.microsoft.com/office/drawing/2014/main" id="{A19A723E-F4B8-478E-9422-77C2A3C80C73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5601213" y="2830307"/>
              <a:ext cx="544719" cy="540089"/>
            </a:xfrm>
            <a:prstGeom prst="roundRect">
              <a:avLst>
                <a:gd name="adj" fmla="val 12398"/>
              </a:avLst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>
              <a:noAutofit/>
            </a:bodyPr>
            <a:lstStyle/>
            <a:p>
              <a:pPr algn="ctr" defTabSz="504442"/>
              <a:r>
                <a:rPr lang="en-US" sz="1998">
                  <a:solidFill>
                    <a:srgbClr val="E5E8E8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Apps</a:t>
              </a:r>
            </a:p>
          </p:txBody>
        </p:sp>
        <p:grpSp>
          <p:nvGrpSpPr>
            <p:cNvPr id="25" name="Group 4">
              <a:extLst>
                <a:ext uri="{FF2B5EF4-FFF2-40B4-BE49-F238E27FC236}">
                  <a16:creationId xmlns:a16="http://schemas.microsoft.com/office/drawing/2014/main" id="{1C5DCA57-24AB-4BE1-AFF1-8198B8DE2F78}"/>
                </a:ext>
              </a:extLst>
            </p:cNvPr>
            <p:cNvGrpSpPr/>
            <p:nvPr>
              <p:custDataLst>
                <p:tags r:id="rId20"/>
              </p:custDataLst>
            </p:nvPr>
          </p:nvGrpSpPr>
          <p:grpSpPr>
            <a:xfrm>
              <a:off x="3530596" y="953680"/>
              <a:ext cx="868068" cy="223174"/>
              <a:chOff x="803042" y="2513025"/>
              <a:chExt cx="1662441" cy="373709"/>
            </a:xfrm>
          </p:grpSpPr>
          <p:sp>
            <p:nvSpPr>
              <p:cNvPr id="100" name="Rounded Rectangle 443">
                <a:extLst>
                  <a:ext uri="{FF2B5EF4-FFF2-40B4-BE49-F238E27FC236}">
                    <a16:creationId xmlns:a16="http://schemas.microsoft.com/office/drawing/2014/main" id="{1ADD330B-8959-4686-835C-93E3B53449F0}"/>
                  </a:ext>
                </a:extLst>
              </p:cNvPr>
              <p:cNvSpPr/>
              <p:nvPr/>
            </p:nvSpPr>
            <p:spPr>
              <a:xfrm>
                <a:off x="803042" y="2513025"/>
                <a:ext cx="1662441" cy="373709"/>
              </a:xfrm>
              <a:prstGeom prst="roundRect">
                <a:avLst/>
              </a:prstGeom>
              <a:solidFill>
                <a:srgbClr val="0096D6"/>
              </a:solidFill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defTabSz="504442"/>
                <a:endParaRPr lang="en-US" sz="1332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01" name="Oval 444">
                <a:extLst>
                  <a:ext uri="{FF2B5EF4-FFF2-40B4-BE49-F238E27FC236}">
                    <a16:creationId xmlns:a16="http://schemas.microsoft.com/office/drawing/2014/main" id="{62D7D482-1F5D-4703-82C6-A99145DF90C6}"/>
                  </a:ext>
                </a:extLst>
              </p:cNvPr>
              <p:cNvSpPr/>
              <p:nvPr/>
            </p:nvSpPr>
            <p:spPr>
              <a:xfrm>
                <a:off x="944963" y="2612200"/>
                <a:ext cx="189288" cy="189289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defTabSz="504442"/>
                <a:endParaRPr lang="en-US" sz="1332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102" name="Rounded Rectangle 445">
                <a:extLst>
                  <a:ext uri="{FF2B5EF4-FFF2-40B4-BE49-F238E27FC236}">
                    <a16:creationId xmlns:a16="http://schemas.microsoft.com/office/drawing/2014/main" id="{F10D8918-FD6C-48F7-8AA7-92FB1D982489}"/>
                  </a:ext>
                </a:extLst>
              </p:cNvPr>
              <p:cNvSpPr/>
              <p:nvPr/>
            </p:nvSpPr>
            <p:spPr>
              <a:xfrm>
                <a:off x="1278019" y="2624721"/>
                <a:ext cx="1052242" cy="172465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0452" tIns="0" bIns="10149" rtlCol="0" anchor="ctr"/>
              <a:lstStyle/>
              <a:p>
                <a:pPr algn="r" defTabSz="504442"/>
                <a:r>
                  <a:rPr lang="en-US" sz="889">
                    <a:solidFill>
                      <a:srgbClr val="0096D6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  <a:sym typeface="HP Simplified"/>
                  </a:rPr>
                  <a:t>●●</a:t>
                </a:r>
              </a:p>
            </p:txBody>
          </p:sp>
        </p:grpSp>
        <p:sp>
          <p:nvSpPr>
            <p:cNvPr id="26" name="Rectangle 453">
              <a:extLst>
                <a:ext uri="{FF2B5EF4-FFF2-40B4-BE49-F238E27FC236}">
                  <a16:creationId xmlns:a16="http://schemas.microsoft.com/office/drawing/2014/main" id="{837C78D9-2BD2-4D81-B700-DF6C9848E2B0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3679522" y="1246179"/>
              <a:ext cx="1601804" cy="55592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algn="r" defTabSz="1014582"/>
              <a:r>
                <a:rPr lang="en-GB" sz="1998" b="1" kern="0">
                  <a:solidFill>
                    <a:schemeClr val="accent4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Continuous compliance</a:t>
              </a:r>
              <a:endParaRPr lang="en-US" sz="1998" b="1" kern="0">
                <a:solidFill>
                  <a:schemeClr val="accent4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27" name="Rectangle 454">
              <a:extLst>
                <a:ext uri="{FF2B5EF4-FFF2-40B4-BE49-F238E27FC236}">
                  <a16:creationId xmlns:a16="http://schemas.microsoft.com/office/drawing/2014/main" id="{054C94D9-8F54-4698-8BCC-6920F1A5388E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4255290" y="2866442"/>
              <a:ext cx="1361389" cy="45944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>
                <a:spcBef>
                  <a:spcPts val="1332"/>
                </a:spcBef>
              </a:pPr>
              <a:r>
                <a:rPr lang="en-US" sz="1554" kern="0">
                  <a:solidFill>
                    <a:srgbClr val="B9B8B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in-house/legacy</a:t>
              </a:r>
              <a:br>
                <a:rPr lang="en-US" sz="1554" kern="0">
                  <a:solidFill>
                    <a:srgbClr val="B9B8B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</a:br>
              <a:r>
                <a:rPr lang="en-US" sz="1554" kern="0">
                  <a:solidFill>
                    <a:srgbClr val="B9B8B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custom apps</a:t>
              </a:r>
            </a:p>
          </p:txBody>
        </p:sp>
        <p:sp>
          <p:nvSpPr>
            <p:cNvPr id="28" name="Title 3">
              <a:extLst>
                <a:ext uri="{FF2B5EF4-FFF2-40B4-BE49-F238E27FC236}">
                  <a16:creationId xmlns:a16="http://schemas.microsoft.com/office/drawing/2014/main" id="{D7EEE506-F34A-4726-B888-06D36EA14AD0}"/>
                </a:ext>
              </a:extLst>
            </p:cNvPr>
            <p:cNvSpPr txBox="1">
              <a:spLocks/>
            </p:cNvSpPr>
            <p:nvPr>
              <p:custDataLst>
                <p:tags r:id="rId23"/>
              </p:custDataLst>
            </p:nvPr>
          </p:nvSpPr>
          <p:spPr bwMode="black">
            <a:xfrm>
              <a:off x="2195610" y="272738"/>
              <a:ext cx="4300539" cy="1040357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lvl1pPr algn="l" defTabSz="950701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None/>
                <a:defRPr lang="en-GB" sz="5800" b="1" i="0" kern="1200" dirty="0" smtClean="0">
                  <a:solidFill>
                    <a:srgbClr val="000000"/>
                  </a:solidFill>
                  <a:latin typeface="HP Simplified" pitchFamily="34" charset="0"/>
                  <a:ea typeface="+mj-ea"/>
                  <a:cs typeface="HP Simplified" pitchFamily="34" charset="0"/>
                </a:defRPr>
              </a:lvl1pPr>
            </a:lstStyle>
            <a:p>
              <a:r>
                <a:rPr lang="en-US" sz="3200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SIEM</a:t>
              </a:r>
            </a:p>
          </p:txBody>
        </p:sp>
        <p:sp>
          <p:nvSpPr>
            <p:cNvPr id="29" name="Title 3">
              <a:extLst>
                <a:ext uri="{FF2B5EF4-FFF2-40B4-BE49-F238E27FC236}">
                  <a16:creationId xmlns:a16="http://schemas.microsoft.com/office/drawing/2014/main" id="{C5526F74-7432-4D00-A131-C1C93C1310AB}"/>
                </a:ext>
              </a:extLst>
            </p:cNvPr>
            <p:cNvSpPr txBox="1">
              <a:spLocks/>
            </p:cNvSpPr>
            <p:nvPr>
              <p:custDataLst>
                <p:tags r:id="rId24"/>
              </p:custDataLst>
            </p:nvPr>
          </p:nvSpPr>
          <p:spPr bwMode="black">
            <a:xfrm>
              <a:off x="2896862" y="2347501"/>
              <a:ext cx="3870784" cy="474432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lvl1pPr algn="l" defTabSz="457200" rtl="0" eaLnBrk="1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None/>
                <a:defRPr lang="en-GB" sz="2800" b="1" i="0" kern="1200" dirty="0" smtClean="0">
                  <a:solidFill>
                    <a:srgbClr val="000000"/>
                  </a:solidFill>
                  <a:latin typeface="HP Simplified" pitchFamily="34" charset="0"/>
                  <a:ea typeface="+mj-ea"/>
                  <a:cs typeface="HP Simplified" pitchFamily="34" charset="0"/>
                </a:defRPr>
              </a:lvl1pPr>
            </a:lstStyle>
            <a:p>
              <a:r>
                <a:rPr lang="sk-SK" sz="3200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L</a:t>
              </a:r>
              <a:r>
                <a:rPr lang="en-US" sz="3200" err="1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og</a:t>
              </a:r>
              <a:r>
                <a:rPr lang="en-US" sz="3200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 </a:t>
              </a:r>
              <a:r>
                <a:rPr lang="sk-SK" sz="3200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M</a:t>
              </a:r>
              <a:r>
                <a:rPr lang="en-US" sz="3200" err="1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anagement</a:t>
              </a:r>
              <a:endParaRPr lang="en-US" sz="3200">
                <a:solidFill>
                  <a:schemeClr val="tx2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30" name="Rectangle 459">
              <a:extLst>
                <a:ext uri="{FF2B5EF4-FFF2-40B4-BE49-F238E27FC236}">
                  <a16:creationId xmlns:a16="http://schemas.microsoft.com/office/drawing/2014/main" id="{864A75ED-CCF5-4CBE-B7AD-1C2A133C4545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 rot="16200000">
              <a:off x="5649369" y="3199605"/>
              <a:ext cx="1598381" cy="5101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algn="r" defTabSz="1014582">
                <a:defRPr/>
              </a:pPr>
              <a:r>
                <a:rPr lang="en-US" sz="1554" b="1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Applications</a:t>
              </a:r>
            </a:p>
          </p:txBody>
        </p:sp>
        <p:sp>
          <p:nvSpPr>
            <p:cNvPr id="31" name="Rectangle 460">
              <a:extLst>
                <a:ext uri="{FF2B5EF4-FFF2-40B4-BE49-F238E27FC236}">
                  <a16:creationId xmlns:a16="http://schemas.microsoft.com/office/drawing/2014/main" id="{0FF5759D-8EB9-451C-AD76-5D72F799289B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-637776" y="4508083"/>
              <a:ext cx="1427018" cy="4176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/>
              <a:r>
                <a:rPr lang="en-US" sz="1776" b="1" kern="0">
                  <a:solidFill>
                    <a:schemeClr val="accent5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350+ CEF partners</a:t>
              </a:r>
            </a:p>
          </p:txBody>
        </p:sp>
        <p:sp>
          <p:nvSpPr>
            <p:cNvPr id="32" name="Rectangle 463">
              <a:extLst>
                <a:ext uri="{FF2B5EF4-FFF2-40B4-BE49-F238E27FC236}">
                  <a16:creationId xmlns:a16="http://schemas.microsoft.com/office/drawing/2014/main" id="{5B8A0BC7-4334-49E3-B1FF-4C248B759CF9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 rot="16200000">
              <a:off x="6244788" y="1624200"/>
              <a:ext cx="1864262" cy="5101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>
                <a:defRPr/>
              </a:pPr>
              <a:r>
                <a:rPr lang="en-GB" sz="3108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Big Data</a:t>
              </a:r>
              <a:endParaRPr lang="en-US" sz="3108" kern="0">
                <a:solidFill>
                  <a:srgbClr val="87898B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33" name="Rectangle 464">
              <a:extLst>
                <a:ext uri="{FF2B5EF4-FFF2-40B4-BE49-F238E27FC236}">
                  <a16:creationId xmlns:a16="http://schemas.microsoft.com/office/drawing/2014/main" id="{886AAF8D-DE51-4938-AB05-615726C39A86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7160470" y="4362448"/>
              <a:ext cx="1104674" cy="55592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/>
              <a:r>
                <a:rPr lang="en-US" sz="1554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Cloud security</a:t>
              </a:r>
            </a:p>
          </p:txBody>
        </p:sp>
        <p:sp>
          <p:nvSpPr>
            <p:cNvPr id="34" name="Rectangle 465">
              <a:extLst>
                <a:ext uri="{FF2B5EF4-FFF2-40B4-BE49-F238E27FC236}">
                  <a16:creationId xmlns:a16="http://schemas.microsoft.com/office/drawing/2014/main" id="{6F168490-3A08-4720-BB94-2552B6F09EA3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 rot="16200000">
              <a:off x="7060391" y="3328454"/>
              <a:ext cx="1627648" cy="5101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>
                <a:defRPr/>
              </a:pPr>
              <a:r>
                <a:rPr lang="en-US" sz="1998" kern="0">
                  <a:solidFill>
                    <a:srgbClr val="B9B8B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Insider threats</a:t>
              </a:r>
              <a:endParaRPr lang="en-US" sz="2220" kern="0">
                <a:solidFill>
                  <a:srgbClr val="B9B8BB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grpSp>
          <p:nvGrpSpPr>
            <p:cNvPr id="35" name="Group 81">
              <a:extLst>
                <a:ext uri="{FF2B5EF4-FFF2-40B4-BE49-F238E27FC236}">
                  <a16:creationId xmlns:a16="http://schemas.microsoft.com/office/drawing/2014/main" id="{1B8816E5-F350-492A-B15D-FED95EC3843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434709" y="3821186"/>
              <a:ext cx="248841" cy="244970"/>
              <a:chOff x="3342835" y="4059235"/>
              <a:chExt cx="400931" cy="394580"/>
            </a:xfrm>
          </p:grpSpPr>
          <p:sp>
            <p:nvSpPr>
              <p:cNvPr id="89" name="Oval 122">
                <a:extLst>
                  <a:ext uri="{FF2B5EF4-FFF2-40B4-BE49-F238E27FC236}">
                    <a16:creationId xmlns:a16="http://schemas.microsoft.com/office/drawing/2014/main" id="{A7C1D0A2-CDC4-4F84-ABA4-18713888E73C}"/>
                  </a:ext>
                </a:extLst>
              </p:cNvPr>
              <p:cNvSpPr/>
              <p:nvPr/>
            </p:nvSpPr>
            <p:spPr>
              <a:xfrm>
                <a:off x="3370971" y="4085596"/>
                <a:ext cx="345299" cy="34264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07523">
                  <a:defRPr/>
                </a:pPr>
                <a:endParaRPr lang="en-US" sz="1776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90" name="Oval 123">
                <a:extLst>
                  <a:ext uri="{FF2B5EF4-FFF2-40B4-BE49-F238E27FC236}">
                    <a16:creationId xmlns:a16="http://schemas.microsoft.com/office/drawing/2014/main" id="{D9F1BD54-B5FD-4E2E-9850-4EFE86F0D610}"/>
                  </a:ext>
                </a:extLst>
              </p:cNvPr>
              <p:cNvSpPr/>
              <p:nvPr/>
            </p:nvSpPr>
            <p:spPr>
              <a:xfrm>
                <a:off x="3455377" y="4169985"/>
                <a:ext cx="176485" cy="1738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07523">
                  <a:defRPr/>
                </a:pPr>
                <a:endParaRPr lang="en-US" sz="1776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grpSp>
            <p:nvGrpSpPr>
              <p:cNvPr id="91" name="Group 108">
                <a:extLst>
                  <a:ext uri="{FF2B5EF4-FFF2-40B4-BE49-F238E27FC236}">
                    <a16:creationId xmlns:a16="http://schemas.microsoft.com/office/drawing/2014/main" id="{09CB58AF-A462-4B45-865A-7112A7EB555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483380" y="4059235"/>
                <a:ext cx="119840" cy="394580"/>
                <a:chOff x="3411942" y="4006410"/>
                <a:chExt cx="119840" cy="394580"/>
              </a:xfrm>
            </p:grpSpPr>
            <p:sp>
              <p:nvSpPr>
                <p:cNvPr id="98" name="Trapezoid 131">
                  <a:extLst>
                    <a:ext uri="{FF2B5EF4-FFF2-40B4-BE49-F238E27FC236}">
                      <a16:creationId xmlns:a16="http://schemas.microsoft.com/office/drawing/2014/main" id="{147EDAF7-06F0-4513-8D7C-3D624C70F58D}"/>
                    </a:ext>
                  </a:extLst>
                </p:cNvPr>
                <p:cNvSpPr/>
                <p:nvPr/>
              </p:nvSpPr>
              <p:spPr>
                <a:xfrm>
                  <a:off x="3412074" y="4007207"/>
                  <a:ext cx="120215" cy="6136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99" name="Trapezoid 132">
                  <a:extLst>
                    <a:ext uri="{FF2B5EF4-FFF2-40B4-BE49-F238E27FC236}">
                      <a16:creationId xmlns:a16="http://schemas.microsoft.com/office/drawing/2014/main" id="{6FC329EF-6295-42DB-B0D9-E2F6BB0E7E9B}"/>
                    </a:ext>
                  </a:extLst>
                </p:cNvPr>
                <p:cNvSpPr/>
                <p:nvPr/>
              </p:nvSpPr>
              <p:spPr>
                <a:xfrm flipV="1">
                  <a:off x="3412074" y="4339621"/>
                  <a:ext cx="120215" cy="6136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92" name="Group 109">
                <a:extLst>
                  <a:ext uri="{FF2B5EF4-FFF2-40B4-BE49-F238E27FC236}">
                    <a16:creationId xmlns:a16="http://schemas.microsoft.com/office/drawing/2014/main" id="{412C118D-5EAF-4B95-A3C7-CFBC44E3AE6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800000">
                <a:off x="3342835" y="4196605"/>
                <a:ext cx="400931" cy="119841"/>
                <a:chOff x="3266635" y="4142194"/>
                <a:chExt cx="400931" cy="119841"/>
              </a:xfrm>
            </p:grpSpPr>
            <p:sp>
              <p:nvSpPr>
                <p:cNvPr id="96" name="Trapezoid 129">
                  <a:extLst>
                    <a:ext uri="{FF2B5EF4-FFF2-40B4-BE49-F238E27FC236}">
                      <a16:creationId xmlns:a16="http://schemas.microsoft.com/office/drawing/2014/main" id="{AEA55E4E-DD29-4A62-AB1E-A8EE2D040A6E}"/>
                    </a:ext>
                  </a:extLst>
                </p:cNvPr>
                <p:cNvSpPr/>
                <p:nvPr/>
              </p:nvSpPr>
              <p:spPr>
                <a:xfrm rot="5400000" flipV="1">
                  <a:off x="3236339" y="4170002"/>
                  <a:ext cx="115067" cy="61386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97" name="Trapezoid 130">
                  <a:extLst>
                    <a:ext uri="{FF2B5EF4-FFF2-40B4-BE49-F238E27FC236}">
                      <a16:creationId xmlns:a16="http://schemas.microsoft.com/office/drawing/2014/main" id="{40754D12-7B81-4D2D-BD8C-B6CCA7CAB67D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78975" y="4170063"/>
                  <a:ext cx="115065" cy="61386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93" name="Group 110">
                <a:extLst>
                  <a:ext uri="{FF2B5EF4-FFF2-40B4-BE49-F238E27FC236}">
                    <a16:creationId xmlns:a16="http://schemas.microsoft.com/office/drawing/2014/main" id="{27866D12-0473-4013-8575-BC3272FDB12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9800000" flipH="1">
                <a:off x="3342835" y="4196605"/>
                <a:ext cx="400931" cy="119841"/>
                <a:chOff x="3266635" y="4142194"/>
                <a:chExt cx="400931" cy="119841"/>
              </a:xfrm>
            </p:grpSpPr>
            <p:sp>
              <p:nvSpPr>
                <p:cNvPr id="94" name="Trapezoid 127">
                  <a:extLst>
                    <a:ext uri="{FF2B5EF4-FFF2-40B4-BE49-F238E27FC236}">
                      <a16:creationId xmlns:a16="http://schemas.microsoft.com/office/drawing/2014/main" id="{CC44440D-4C0A-4553-AE6E-8DF569D712CA}"/>
                    </a:ext>
                  </a:extLst>
                </p:cNvPr>
                <p:cNvSpPr/>
                <p:nvPr/>
              </p:nvSpPr>
              <p:spPr>
                <a:xfrm rot="5400000" flipV="1">
                  <a:off x="3239281" y="4171257"/>
                  <a:ext cx="115065" cy="61386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95" name="Trapezoid 128">
                  <a:extLst>
                    <a:ext uri="{FF2B5EF4-FFF2-40B4-BE49-F238E27FC236}">
                      <a16:creationId xmlns:a16="http://schemas.microsoft.com/office/drawing/2014/main" id="{A95F9995-849B-4FBE-BC0F-EA21B6C61533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81916" y="4171318"/>
                  <a:ext cx="115067" cy="61386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</p:grpSp>
        <p:grpSp>
          <p:nvGrpSpPr>
            <p:cNvPr id="36" name="Group 82">
              <a:extLst>
                <a:ext uri="{FF2B5EF4-FFF2-40B4-BE49-F238E27FC236}">
                  <a16:creationId xmlns:a16="http://schemas.microsoft.com/office/drawing/2014/main" id="{01013DC7-1860-41EE-AC5A-A6A7BB25A97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00119" y="3613719"/>
              <a:ext cx="249386" cy="244970"/>
              <a:chOff x="3341957" y="4059235"/>
              <a:chExt cx="401809" cy="394580"/>
            </a:xfrm>
          </p:grpSpPr>
          <p:sp>
            <p:nvSpPr>
              <p:cNvPr id="78" name="Oval 111">
                <a:extLst>
                  <a:ext uri="{FF2B5EF4-FFF2-40B4-BE49-F238E27FC236}">
                    <a16:creationId xmlns:a16="http://schemas.microsoft.com/office/drawing/2014/main" id="{88ABAF70-7D4A-4508-8ECC-344C32A95CB7}"/>
                  </a:ext>
                </a:extLst>
              </p:cNvPr>
              <p:cNvSpPr/>
              <p:nvPr/>
            </p:nvSpPr>
            <p:spPr>
              <a:xfrm>
                <a:off x="3372151" y="4084805"/>
                <a:ext cx="342741" cy="34264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07523">
                  <a:defRPr/>
                </a:pPr>
                <a:endParaRPr lang="en-US" sz="1776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79" name="Oval 112">
                <a:extLst>
                  <a:ext uri="{FF2B5EF4-FFF2-40B4-BE49-F238E27FC236}">
                    <a16:creationId xmlns:a16="http://schemas.microsoft.com/office/drawing/2014/main" id="{10C9A360-5576-47AC-B72E-5706F7A0C532}"/>
                  </a:ext>
                </a:extLst>
              </p:cNvPr>
              <p:cNvSpPr/>
              <p:nvPr/>
            </p:nvSpPr>
            <p:spPr>
              <a:xfrm>
                <a:off x="3456556" y="4169187"/>
                <a:ext cx="173928" cy="17387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07523">
                  <a:defRPr/>
                </a:pPr>
                <a:endParaRPr lang="en-US" sz="1776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grpSp>
            <p:nvGrpSpPr>
              <p:cNvPr id="80" name="Group 97">
                <a:extLst>
                  <a:ext uri="{FF2B5EF4-FFF2-40B4-BE49-F238E27FC236}">
                    <a16:creationId xmlns:a16="http://schemas.microsoft.com/office/drawing/2014/main" id="{0DA5A344-0485-4504-AC65-EB7F2E53337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483380" y="4059235"/>
                <a:ext cx="119840" cy="394580"/>
                <a:chOff x="3411942" y="4006410"/>
                <a:chExt cx="119840" cy="394580"/>
              </a:xfrm>
            </p:grpSpPr>
            <p:sp>
              <p:nvSpPr>
                <p:cNvPr id="87" name="Trapezoid 120">
                  <a:extLst>
                    <a:ext uri="{FF2B5EF4-FFF2-40B4-BE49-F238E27FC236}">
                      <a16:creationId xmlns:a16="http://schemas.microsoft.com/office/drawing/2014/main" id="{8BB296B0-4E21-42D6-AA88-05BA60A42626}"/>
                    </a:ext>
                  </a:extLst>
                </p:cNvPr>
                <p:cNvSpPr/>
                <p:nvPr/>
              </p:nvSpPr>
              <p:spPr>
                <a:xfrm>
                  <a:off x="3415812" y="4006410"/>
                  <a:ext cx="115100" cy="6136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88" name="Trapezoid 121">
                  <a:extLst>
                    <a:ext uri="{FF2B5EF4-FFF2-40B4-BE49-F238E27FC236}">
                      <a16:creationId xmlns:a16="http://schemas.microsoft.com/office/drawing/2014/main" id="{8170C4D8-FAB7-454F-892D-A6E86F8E5151}"/>
                    </a:ext>
                  </a:extLst>
                </p:cNvPr>
                <p:cNvSpPr/>
                <p:nvPr/>
              </p:nvSpPr>
              <p:spPr>
                <a:xfrm flipV="1">
                  <a:off x="3415812" y="4338824"/>
                  <a:ext cx="115100" cy="6136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81" name="Group 98">
                <a:extLst>
                  <a:ext uri="{FF2B5EF4-FFF2-40B4-BE49-F238E27FC236}">
                    <a16:creationId xmlns:a16="http://schemas.microsoft.com/office/drawing/2014/main" id="{C4F5B1F1-9565-4210-809C-26D78A24B55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800000">
                <a:off x="3341957" y="4196870"/>
                <a:ext cx="398155" cy="115339"/>
                <a:chOff x="3265068" y="4143858"/>
                <a:chExt cx="398155" cy="115339"/>
              </a:xfrm>
            </p:grpSpPr>
            <p:sp>
              <p:nvSpPr>
                <p:cNvPr id="85" name="Trapezoid 118">
                  <a:extLst>
                    <a:ext uri="{FF2B5EF4-FFF2-40B4-BE49-F238E27FC236}">
                      <a16:creationId xmlns:a16="http://schemas.microsoft.com/office/drawing/2014/main" id="{2FD050CD-2155-4941-8742-67878ECEF633}"/>
                    </a:ext>
                  </a:extLst>
                </p:cNvPr>
                <p:cNvSpPr/>
                <p:nvPr/>
              </p:nvSpPr>
              <p:spPr>
                <a:xfrm rot="5400000" flipV="1">
                  <a:off x="3238227" y="4170971"/>
                  <a:ext cx="115067" cy="61385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86" name="Trapezoid 119">
                  <a:extLst>
                    <a:ext uri="{FF2B5EF4-FFF2-40B4-BE49-F238E27FC236}">
                      <a16:creationId xmlns:a16="http://schemas.microsoft.com/office/drawing/2014/main" id="{7AAB98D6-95C6-4DC3-AA98-D60812CB867D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76275" y="4171978"/>
                  <a:ext cx="115067" cy="58828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82" name="Group 99">
                <a:extLst>
                  <a:ext uri="{FF2B5EF4-FFF2-40B4-BE49-F238E27FC236}">
                    <a16:creationId xmlns:a16="http://schemas.microsoft.com/office/drawing/2014/main" id="{5E07F301-EDF0-4FAF-B57E-E1BA5F2915F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9800000" flipH="1">
                <a:off x="3342835" y="4196605"/>
                <a:ext cx="400931" cy="119841"/>
                <a:chOff x="3266635" y="4142194"/>
                <a:chExt cx="400931" cy="119841"/>
              </a:xfrm>
            </p:grpSpPr>
            <p:sp>
              <p:nvSpPr>
                <p:cNvPr id="83" name="Trapezoid 116">
                  <a:extLst>
                    <a:ext uri="{FF2B5EF4-FFF2-40B4-BE49-F238E27FC236}">
                      <a16:creationId xmlns:a16="http://schemas.microsoft.com/office/drawing/2014/main" id="{BC9ADAE4-52B8-4CAB-9443-F95671F5969B}"/>
                    </a:ext>
                  </a:extLst>
                </p:cNvPr>
                <p:cNvSpPr/>
                <p:nvPr/>
              </p:nvSpPr>
              <p:spPr>
                <a:xfrm rot="5400000" flipV="1">
                  <a:off x="3240073" y="4169877"/>
                  <a:ext cx="115067" cy="61386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84" name="Trapezoid 117">
                  <a:extLst>
                    <a:ext uri="{FF2B5EF4-FFF2-40B4-BE49-F238E27FC236}">
                      <a16:creationId xmlns:a16="http://schemas.microsoft.com/office/drawing/2014/main" id="{2EFCD55F-DE2C-4900-8980-20AC5A24D624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79216" y="4169001"/>
                  <a:ext cx="115067" cy="61386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</p:grpSp>
        <p:grpSp>
          <p:nvGrpSpPr>
            <p:cNvPr id="37" name="Group 83">
              <a:extLst>
                <a:ext uri="{FF2B5EF4-FFF2-40B4-BE49-F238E27FC236}">
                  <a16:creationId xmlns:a16="http://schemas.microsoft.com/office/drawing/2014/main" id="{65BA08C7-E5FC-4D85-A164-3282D754B9A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93838" y="3872393"/>
              <a:ext cx="186958" cy="184049"/>
              <a:chOff x="3342835" y="4059235"/>
              <a:chExt cx="400931" cy="394580"/>
            </a:xfrm>
          </p:grpSpPr>
          <p:sp>
            <p:nvSpPr>
              <p:cNvPr id="67" name="Oval 100">
                <a:extLst>
                  <a:ext uri="{FF2B5EF4-FFF2-40B4-BE49-F238E27FC236}">
                    <a16:creationId xmlns:a16="http://schemas.microsoft.com/office/drawing/2014/main" id="{58BFD4E0-AEC8-47CD-8A23-2C2AE054AF3E}"/>
                  </a:ext>
                </a:extLst>
              </p:cNvPr>
              <p:cNvSpPr/>
              <p:nvPr/>
            </p:nvSpPr>
            <p:spPr>
              <a:xfrm>
                <a:off x="3369283" y="4083249"/>
                <a:ext cx="347248" cy="347149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07523">
                  <a:defRPr/>
                </a:pPr>
                <a:endParaRPr lang="en-US" sz="1776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68" name="Oval 101">
                <a:extLst>
                  <a:ext uri="{FF2B5EF4-FFF2-40B4-BE49-F238E27FC236}">
                    <a16:creationId xmlns:a16="http://schemas.microsoft.com/office/drawing/2014/main" id="{096FBE8D-B0D9-4290-95B1-EDCDF3527B26}"/>
                  </a:ext>
                </a:extLst>
              </p:cNvPr>
              <p:cNvSpPr/>
              <p:nvPr/>
            </p:nvSpPr>
            <p:spPr>
              <a:xfrm>
                <a:off x="3454393" y="4168333"/>
                <a:ext cx="177028" cy="17697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507523">
                  <a:defRPr/>
                </a:pPr>
                <a:endParaRPr lang="en-US" sz="1776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grpSp>
            <p:nvGrpSpPr>
              <p:cNvPr id="69" name="Group 86">
                <a:extLst>
                  <a:ext uri="{FF2B5EF4-FFF2-40B4-BE49-F238E27FC236}">
                    <a16:creationId xmlns:a16="http://schemas.microsoft.com/office/drawing/2014/main" id="{9C9B60AC-F545-4E62-AD8A-60C2AB9C9BB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483380" y="4059235"/>
                <a:ext cx="119840" cy="394580"/>
                <a:chOff x="3411942" y="4006410"/>
                <a:chExt cx="119840" cy="394580"/>
              </a:xfrm>
            </p:grpSpPr>
            <p:sp>
              <p:nvSpPr>
                <p:cNvPr id="76" name="Trapezoid 109">
                  <a:extLst>
                    <a:ext uri="{FF2B5EF4-FFF2-40B4-BE49-F238E27FC236}">
                      <a16:creationId xmlns:a16="http://schemas.microsoft.com/office/drawing/2014/main" id="{BEE1564F-B9C5-4AEA-8DE4-54A6FDEF0E36}"/>
                    </a:ext>
                  </a:extLst>
                </p:cNvPr>
                <p:cNvSpPr/>
                <p:nvPr/>
              </p:nvSpPr>
              <p:spPr>
                <a:xfrm>
                  <a:off x="3406787" y="4006599"/>
                  <a:ext cx="125962" cy="61262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77" name="Trapezoid 110">
                  <a:extLst>
                    <a:ext uri="{FF2B5EF4-FFF2-40B4-BE49-F238E27FC236}">
                      <a16:creationId xmlns:a16="http://schemas.microsoft.com/office/drawing/2014/main" id="{BD7B95CF-72E3-4867-89B7-6F63A94924B1}"/>
                    </a:ext>
                  </a:extLst>
                </p:cNvPr>
                <p:cNvSpPr/>
                <p:nvPr/>
              </p:nvSpPr>
              <p:spPr>
                <a:xfrm flipV="1">
                  <a:off x="3406787" y="4340134"/>
                  <a:ext cx="125962" cy="61262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70" name="Group 87">
                <a:extLst>
                  <a:ext uri="{FF2B5EF4-FFF2-40B4-BE49-F238E27FC236}">
                    <a16:creationId xmlns:a16="http://schemas.microsoft.com/office/drawing/2014/main" id="{43DC8742-E81D-4086-9290-171B063897F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800000">
                <a:off x="3342835" y="4196605"/>
                <a:ext cx="400931" cy="119841"/>
                <a:chOff x="3266635" y="4142194"/>
                <a:chExt cx="400931" cy="119841"/>
              </a:xfrm>
            </p:grpSpPr>
            <p:sp>
              <p:nvSpPr>
                <p:cNvPr id="74" name="Trapezoid 107">
                  <a:extLst>
                    <a:ext uri="{FF2B5EF4-FFF2-40B4-BE49-F238E27FC236}">
                      <a16:creationId xmlns:a16="http://schemas.microsoft.com/office/drawing/2014/main" id="{7B356464-D0E0-4C82-9C5A-E70D89354AC0}"/>
                    </a:ext>
                  </a:extLst>
                </p:cNvPr>
                <p:cNvSpPr/>
                <p:nvPr/>
              </p:nvSpPr>
              <p:spPr>
                <a:xfrm rot="5400000" flipV="1">
                  <a:off x="3227867" y="4173344"/>
                  <a:ext cx="125927" cy="6127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75" name="Trapezoid 108">
                  <a:extLst>
                    <a:ext uri="{FF2B5EF4-FFF2-40B4-BE49-F238E27FC236}">
                      <a16:creationId xmlns:a16="http://schemas.microsoft.com/office/drawing/2014/main" id="{D5C03866-807F-4EFA-A1CD-C3FAAB310546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69477" y="4172668"/>
                  <a:ext cx="125927" cy="6127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  <p:grpSp>
            <p:nvGrpSpPr>
              <p:cNvPr id="71" name="Group 88">
                <a:extLst>
                  <a:ext uri="{FF2B5EF4-FFF2-40B4-BE49-F238E27FC236}">
                    <a16:creationId xmlns:a16="http://schemas.microsoft.com/office/drawing/2014/main" id="{0EB8D57A-A077-494E-8D18-17B8FB78F9ED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9800000" flipH="1">
                <a:off x="3342835" y="4196605"/>
                <a:ext cx="400931" cy="119841"/>
                <a:chOff x="3266635" y="4142194"/>
                <a:chExt cx="400931" cy="119841"/>
              </a:xfrm>
            </p:grpSpPr>
            <p:sp>
              <p:nvSpPr>
                <p:cNvPr id="72" name="Trapezoid 105">
                  <a:extLst>
                    <a:ext uri="{FF2B5EF4-FFF2-40B4-BE49-F238E27FC236}">
                      <a16:creationId xmlns:a16="http://schemas.microsoft.com/office/drawing/2014/main" id="{33163945-97E5-4D6D-88B6-7980FEC10E91}"/>
                    </a:ext>
                  </a:extLst>
                </p:cNvPr>
                <p:cNvSpPr/>
                <p:nvPr/>
              </p:nvSpPr>
              <p:spPr>
                <a:xfrm rot="5400000" flipV="1">
                  <a:off x="3234442" y="4169550"/>
                  <a:ext cx="125927" cy="6127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  <p:sp>
              <p:nvSpPr>
                <p:cNvPr id="73" name="Trapezoid 106">
                  <a:extLst>
                    <a:ext uri="{FF2B5EF4-FFF2-40B4-BE49-F238E27FC236}">
                      <a16:creationId xmlns:a16="http://schemas.microsoft.com/office/drawing/2014/main" id="{A5554C3F-663A-425D-B0BA-B3ADB5ABD9E2}"/>
                    </a:ext>
                  </a:extLst>
                </p:cNvPr>
                <p:cNvSpPr/>
                <p:nvPr/>
              </p:nvSpPr>
              <p:spPr>
                <a:xfrm rot="16200000" flipH="1" flipV="1">
                  <a:off x="3579001" y="4167172"/>
                  <a:ext cx="125927" cy="61279"/>
                </a:xfrm>
                <a:prstGeom prst="trapezoid">
                  <a:avLst/>
                </a:prstGeom>
                <a:solidFill>
                  <a:schemeClr val="accent1"/>
                </a:solidFill>
                <a:ln w="19050" cap="rnd" cmpd="sng">
                  <a:solidFill>
                    <a:schemeClr val="accent1"/>
                  </a:solidFill>
                  <a:rou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507523">
                    <a:defRPr/>
                  </a:pPr>
                  <a:endParaRPr lang="en-US" sz="1776">
                    <a:solidFill>
                      <a:prstClr val="white"/>
                    </a:solidFill>
                    <a:latin typeface="Ebrima" panose="02000000000000000000" pitchFamily="2" charset="0"/>
                    <a:ea typeface="Ebrima" panose="02000000000000000000" pitchFamily="2" charset="0"/>
                    <a:cs typeface="Ebrima" panose="02000000000000000000" pitchFamily="2" charset="0"/>
                  </a:endParaRPr>
                </a:p>
              </p:txBody>
            </p:sp>
          </p:grpSp>
        </p:grpSp>
        <p:grpSp>
          <p:nvGrpSpPr>
            <p:cNvPr id="38" name="Group 132">
              <a:extLst>
                <a:ext uri="{FF2B5EF4-FFF2-40B4-BE49-F238E27FC236}">
                  <a16:creationId xmlns:a16="http://schemas.microsoft.com/office/drawing/2014/main" id="{03E912C1-54D0-40FE-8B1F-17BB1DFEBEE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0553" y="2307306"/>
              <a:ext cx="681038" cy="681038"/>
              <a:chOff x="3717247" y="1022302"/>
              <a:chExt cx="681026" cy="681025"/>
            </a:xfrm>
          </p:grpSpPr>
          <p:sp>
            <p:nvSpPr>
              <p:cNvPr id="64" name="Freeform 9">
                <a:extLst>
                  <a:ext uri="{FF2B5EF4-FFF2-40B4-BE49-F238E27FC236}">
                    <a16:creationId xmlns:a16="http://schemas.microsoft.com/office/drawing/2014/main" id="{4188E685-A0D6-430E-83EC-6FF076A8D7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17247" y="1022302"/>
                <a:ext cx="681026" cy="521460"/>
              </a:xfrm>
              <a:custGeom>
                <a:avLst/>
                <a:gdLst>
                  <a:gd name="T0" fmla="*/ 530890723 w 209"/>
                  <a:gd name="T1" fmla="*/ 1306491957 h 160"/>
                  <a:gd name="T2" fmla="*/ 637068867 w 209"/>
                  <a:gd name="T3" fmla="*/ 870994638 h 160"/>
                  <a:gd name="T4" fmla="*/ 679540125 w 209"/>
                  <a:gd name="T5" fmla="*/ 839130173 h 160"/>
                  <a:gd name="T6" fmla="*/ 711391939 w 209"/>
                  <a:gd name="T7" fmla="*/ 870994638 h 160"/>
                  <a:gd name="T8" fmla="*/ 796334455 w 209"/>
                  <a:gd name="T9" fmla="*/ 1402091871 h 160"/>
                  <a:gd name="T10" fmla="*/ 881276970 w 209"/>
                  <a:gd name="T11" fmla="*/ 594826163 h 160"/>
                  <a:gd name="T12" fmla="*/ 913132043 w 209"/>
                  <a:gd name="T13" fmla="*/ 562961698 h 160"/>
                  <a:gd name="T14" fmla="*/ 913132043 w 209"/>
                  <a:gd name="T15" fmla="*/ 562961698 h 160"/>
                  <a:gd name="T16" fmla="*/ 944983857 w 209"/>
                  <a:gd name="T17" fmla="*/ 605447651 h 160"/>
                  <a:gd name="T18" fmla="*/ 998074559 w 209"/>
                  <a:gd name="T19" fmla="*/ 1274627492 h 160"/>
                  <a:gd name="T20" fmla="*/ 1029926373 w 209"/>
                  <a:gd name="T21" fmla="*/ 902862362 h 160"/>
                  <a:gd name="T22" fmla="*/ 1072397631 w 209"/>
                  <a:gd name="T23" fmla="*/ 860373150 h 160"/>
                  <a:gd name="T24" fmla="*/ 1104252703 w 209"/>
                  <a:gd name="T25" fmla="*/ 902862362 h 160"/>
                  <a:gd name="T26" fmla="*/ 1136104517 w 209"/>
                  <a:gd name="T27" fmla="*/ 1412713359 h 160"/>
                  <a:gd name="T28" fmla="*/ 1274137735 w 209"/>
                  <a:gd name="T29" fmla="*/ 552336950 h 160"/>
                  <a:gd name="T30" fmla="*/ 1316608992 w 209"/>
                  <a:gd name="T31" fmla="*/ 520472485 h 160"/>
                  <a:gd name="T32" fmla="*/ 1348460806 w 209"/>
                  <a:gd name="T33" fmla="*/ 552336950 h 160"/>
                  <a:gd name="T34" fmla="*/ 1401551508 w 209"/>
                  <a:gd name="T35" fmla="*/ 1402091871 h 160"/>
                  <a:gd name="T36" fmla="*/ 1433403322 w 209"/>
                  <a:gd name="T37" fmla="*/ 860373150 h 160"/>
                  <a:gd name="T38" fmla="*/ 1465258395 w 209"/>
                  <a:gd name="T39" fmla="*/ 828508685 h 160"/>
                  <a:gd name="T40" fmla="*/ 1465258395 w 209"/>
                  <a:gd name="T41" fmla="*/ 828508685 h 160"/>
                  <a:gd name="T42" fmla="*/ 1507729653 w 209"/>
                  <a:gd name="T43" fmla="*/ 860373150 h 160"/>
                  <a:gd name="T44" fmla="*/ 1603288353 w 209"/>
                  <a:gd name="T45" fmla="*/ 1699503323 h 160"/>
                  <a:gd name="T46" fmla="*/ 1730702127 w 209"/>
                  <a:gd name="T47" fmla="*/ 701044306 h 160"/>
                  <a:gd name="T48" fmla="*/ 1773173385 w 209"/>
                  <a:gd name="T49" fmla="*/ 669179841 h 160"/>
                  <a:gd name="T50" fmla="*/ 1805028457 w 209"/>
                  <a:gd name="T51" fmla="*/ 711665794 h 160"/>
                  <a:gd name="T52" fmla="*/ 1868735344 w 209"/>
                  <a:gd name="T53" fmla="*/ 1295870469 h 160"/>
                  <a:gd name="T54" fmla="*/ 2147483647 w 209"/>
                  <a:gd name="T55" fmla="*/ 1295870469 h 160"/>
                  <a:gd name="T56" fmla="*/ 2147483647 w 209"/>
                  <a:gd name="T57" fmla="*/ 1104677160 h 160"/>
                  <a:gd name="T58" fmla="*/ 1114868888 w 209"/>
                  <a:gd name="T59" fmla="*/ 0 h 160"/>
                  <a:gd name="T60" fmla="*/ 0 w 209"/>
                  <a:gd name="T61" fmla="*/ 1104677160 h 160"/>
                  <a:gd name="T62" fmla="*/ 21235629 w 209"/>
                  <a:gd name="T63" fmla="*/ 1306491957 h 160"/>
                  <a:gd name="T64" fmla="*/ 530890723 w 209"/>
                  <a:gd name="T65" fmla="*/ 1306491957 h 16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09"/>
                  <a:gd name="T100" fmla="*/ 0 h 160"/>
                  <a:gd name="T101" fmla="*/ 209 w 209"/>
                  <a:gd name="T102" fmla="*/ 160 h 16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09" h="160">
                    <a:moveTo>
                      <a:pt x="50" y="123"/>
                    </a:moveTo>
                    <a:cubicBezTo>
                      <a:pt x="60" y="82"/>
                      <a:pt x="60" y="82"/>
                      <a:pt x="60" y="82"/>
                    </a:cubicBezTo>
                    <a:cubicBezTo>
                      <a:pt x="61" y="80"/>
                      <a:pt x="62" y="79"/>
                      <a:pt x="64" y="79"/>
                    </a:cubicBezTo>
                    <a:cubicBezTo>
                      <a:pt x="65" y="79"/>
                      <a:pt x="67" y="80"/>
                      <a:pt x="67" y="82"/>
                    </a:cubicBezTo>
                    <a:cubicBezTo>
                      <a:pt x="75" y="132"/>
                      <a:pt x="75" y="132"/>
                      <a:pt x="75" y="132"/>
                    </a:cubicBezTo>
                    <a:cubicBezTo>
                      <a:pt x="83" y="56"/>
                      <a:pt x="83" y="56"/>
                      <a:pt x="83" y="56"/>
                    </a:cubicBezTo>
                    <a:cubicBezTo>
                      <a:pt x="83" y="55"/>
                      <a:pt x="84" y="53"/>
                      <a:pt x="86" y="53"/>
                    </a:cubicBezTo>
                    <a:cubicBezTo>
                      <a:pt x="86" y="53"/>
                      <a:pt x="86" y="53"/>
                      <a:pt x="86" y="53"/>
                    </a:cubicBezTo>
                    <a:cubicBezTo>
                      <a:pt x="88" y="53"/>
                      <a:pt x="89" y="55"/>
                      <a:pt x="89" y="57"/>
                    </a:cubicBezTo>
                    <a:cubicBezTo>
                      <a:pt x="94" y="120"/>
                      <a:pt x="94" y="120"/>
                      <a:pt x="94" y="120"/>
                    </a:cubicBezTo>
                    <a:cubicBezTo>
                      <a:pt x="97" y="85"/>
                      <a:pt x="97" y="85"/>
                      <a:pt x="97" y="85"/>
                    </a:cubicBezTo>
                    <a:cubicBezTo>
                      <a:pt x="97" y="83"/>
                      <a:pt x="99" y="81"/>
                      <a:pt x="101" y="81"/>
                    </a:cubicBezTo>
                    <a:cubicBezTo>
                      <a:pt x="103" y="81"/>
                      <a:pt x="104" y="83"/>
                      <a:pt x="104" y="85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20" y="52"/>
                      <a:pt x="120" y="52"/>
                      <a:pt x="120" y="52"/>
                    </a:cubicBezTo>
                    <a:cubicBezTo>
                      <a:pt x="120" y="50"/>
                      <a:pt x="122" y="49"/>
                      <a:pt x="124" y="49"/>
                    </a:cubicBezTo>
                    <a:cubicBezTo>
                      <a:pt x="126" y="49"/>
                      <a:pt x="127" y="50"/>
                      <a:pt x="127" y="52"/>
                    </a:cubicBezTo>
                    <a:cubicBezTo>
                      <a:pt x="132" y="132"/>
                      <a:pt x="132" y="132"/>
                      <a:pt x="132" y="132"/>
                    </a:cubicBezTo>
                    <a:cubicBezTo>
                      <a:pt x="135" y="81"/>
                      <a:pt x="135" y="81"/>
                      <a:pt x="135" y="81"/>
                    </a:cubicBezTo>
                    <a:cubicBezTo>
                      <a:pt x="135" y="80"/>
                      <a:pt x="136" y="78"/>
                      <a:pt x="138" y="78"/>
                    </a:cubicBezTo>
                    <a:cubicBezTo>
                      <a:pt x="138" y="78"/>
                      <a:pt x="138" y="78"/>
                      <a:pt x="138" y="78"/>
                    </a:cubicBezTo>
                    <a:cubicBezTo>
                      <a:pt x="140" y="78"/>
                      <a:pt x="142" y="79"/>
                      <a:pt x="142" y="81"/>
                    </a:cubicBezTo>
                    <a:cubicBezTo>
                      <a:pt x="151" y="160"/>
                      <a:pt x="151" y="160"/>
                      <a:pt x="151" y="160"/>
                    </a:cubicBezTo>
                    <a:cubicBezTo>
                      <a:pt x="163" y="66"/>
                      <a:pt x="163" y="66"/>
                      <a:pt x="163" y="66"/>
                    </a:cubicBezTo>
                    <a:cubicBezTo>
                      <a:pt x="164" y="65"/>
                      <a:pt x="165" y="63"/>
                      <a:pt x="167" y="63"/>
                    </a:cubicBezTo>
                    <a:cubicBezTo>
                      <a:pt x="169" y="63"/>
                      <a:pt x="170" y="65"/>
                      <a:pt x="170" y="67"/>
                    </a:cubicBezTo>
                    <a:cubicBezTo>
                      <a:pt x="176" y="122"/>
                      <a:pt x="176" y="122"/>
                      <a:pt x="176" y="122"/>
                    </a:cubicBezTo>
                    <a:cubicBezTo>
                      <a:pt x="208" y="122"/>
                      <a:pt x="208" y="122"/>
                      <a:pt x="208" y="122"/>
                    </a:cubicBezTo>
                    <a:cubicBezTo>
                      <a:pt x="209" y="116"/>
                      <a:pt x="209" y="110"/>
                      <a:pt x="209" y="104"/>
                    </a:cubicBezTo>
                    <a:cubicBezTo>
                      <a:pt x="209" y="46"/>
                      <a:pt x="163" y="0"/>
                      <a:pt x="105" y="0"/>
                    </a:cubicBezTo>
                    <a:cubicBezTo>
                      <a:pt x="47" y="0"/>
                      <a:pt x="0" y="46"/>
                      <a:pt x="0" y="104"/>
                    </a:cubicBezTo>
                    <a:cubicBezTo>
                      <a:pt x="0" y="111"/>
                      <a:pt x="1" y="117"/>
                      <a:pt x="2" y="123"/>
                    </a:cubicBezTo>
                    <a:lnTo>
                      <a:pt x="50" y="123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507523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65" name="Freeform 10">
                <a:extLst>
                  <a:ext uri="{FF2B5EF4-FFF2-40B4-BE49-F238E27FC236}">
                    <a16:creationId xmlns:a16="http://schemas.microsoft.com/office/drawing/2014/main" id="{B5B2DDA4-00AD-44E0-816B-AA7446CD9F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6905" y="1295908"/>
                <a:ext cx="661713" cy="407419"/>
              </a:xfrm>
              <a:custGeom>
                <a:avLst/>
                <a:gdLst>
                  <a:gd name="T0" fmla="*/ 1795700021 w 203"/>
                  <a:gd name="T1" fmla="*/ 478052417 h 125"/>
                  <a:gd name="T2" fmla="*/ 1763823709 w 203"/>
                  <a:gd name="T3" fmla="*/ 446182473 h 125"/>
                  <a:gd name="T4" fmla="*/ 1731947396 w 203"/>
                  <a:gd name="T5" fmla="*/ 138105263 h 125"/>
                  <a:gd name="T6" fmla="*/ 1604442146 w 203"/>
                  <a:gd name="T7" fmla="*/ 1115454554 h 125"/>
                  <a:gd name="T8" fmla="*/ 1561942570 w 203"/>
                  <a:gd name="T9" fmla="*/ 1147324498 h 125"/>
                  <a:gd name="T10" fmla="*/ 1561942570 w 203"/>
                  <a:gd name="T11" fmla="*/ 1147324498 h 125"/>
                  <a:gd name="T12" fmla="*/ 1530066257 w 203"/>
                  <a:gd name="T13" fmla="*/ 1115454554 h 125"/>
                  <a:gd name="T14" fmla="*/ 1445060584 w 203"/>
                  <a:gd name="T15" fmla="*/ 414312529 h 125"/>
                  <a:gd name="T16" fmla="*/ 1402561007 w 203"/>
                  <a:gd name="T17" fmla="*/ 1136702269 h 125"/>
                  <a:gd name="T18" fmla="*/ 1370681435 w 203"/>
                  <a:gd name="T19" fmla="*/ 1168572213 h 125"/>
                  <a:gd name="T20" fmla="*/ 1370681435 w 203"/>
                  <a:gd name="T21" fmla="*/ 1168572213 h 125"/>
                  <a:gd name="T22" fmla="*/ 1328181858 w 203"/>
                  <a:gd name="T23" fmla="*/ 1136702269 h 125"/>
                  <a:gd name="T24" fmla="*/ 1264429234 w 203"/>
                  <a:gd name="T25" fmla="*/ 0 h 125"/>
                  <a:gd name="T26" fmla="*/ 1126297460 w 203"/>
                  <a:gd name="T27" fmla="*/ 860495003 h 125"/>
                  <a:gd name="T28" fmla="*/ 1083794623 w 203"/>
                  <a:gd name="T29" fmla="*/ 892364947 h 125"/>
                  <a:gd name="T30" fmla="*/ 1051918311 w 203"/>
                  <a:gd name="T31" fmla="*/ 860495003 h 125"/>
                  <a:gd name="T32" fmla="*/ 1030668522 w 203"/>
                  <a:gd name="T33" fmla="*/ 478052417 h 125"/>
                  <a:gd name="T34" fmla="*/ 988165686 w 203"/>
                  <a:gd name="T35" fmla="*/ 839247287 h 125"/>
                  <a:gd name="T36" fmla="*/ 956289373 w 203"/>
                  <a:gd name="T37" fmla="*/ 871117231 h 125"/>
                  <a:gd name="T38" fmla="*/ 956289373 w 203"/>
                  <a:gd name="T39" fmla="*/ 871117231 h 125"/>
                  <a:gd name="T40" fmla="*/ 924413061 w 203"/>
                  <a:gd name="T41" fmla="*/ 839247287 h 125"/>
                  <a:gd name="T42" fmla="*/ 871286960 w 203"/>
                  <a:gd name="T43" fmla="*/ 159349719 h 125"/>
                  <a:gd name="T44" fmla="*/ 807534335 w 203"/>
                  <a:gd name="T45" fmla="*/ 796751856 h 125"/>
                  <a:gd name="T46" fmla="*/ 775658023 w 203"/>
                  <a:gd name="T47" fmla="*/ 839247287 h 125"/>
                  <a:gd name="T48" fmla="*/ 733155186 w 203"/>
                  <a:gd name="T49" fmla="*/ 807377343 h 125"/>
                  <a:gd name="T50" fmla="*/ 637526249 w 203"/>
                  <a:gd name="T51" fmla="*/ 169975207 h 125"/>
                  <a:gd name="T52" fmla="*/ 563150360 w 203"/>
                  <a:gd name="T53" fmla="*/ 456804702 h 125"/>
                  <a:gd name="T54" fmla="*/ 520647523 w 203"/>
                  <a:gd name="T55" fmla="*/ 488674645 h 125"/>
                  <a:gd name="T56" fmla="*/ 0 w 203"/>
                  <a:gd name="T57" fmla="*/ 488674645 h 125"/>
                  <a:gd name="T58" fmla="*/ 1083794623 w 203"/>
                  <a:gd name="T59" fmla="*/ 1327921932 h 125"/>
                  <a:gd name="T60" fmla="*/ 2147483647 w 203"/>
                  <a:gd name="T61" fmla="*/ 478052417 h 125"/>
                  <a:gd name="T62" fmla="*/ 1795700021 w 203"/>
                  <a:gd name="T63" fmla="*/ 478052417 h 125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03"/>
                  <a:gd name="T97" fmla="*/ 0 h 125"/>
                  <a:gd name="T98" fmla="*/ 203 w 203"/>
                  <a:gd name="T99" fmla="*/ 125 h 125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03" h="125">
                    <a:moveTo>
                      <a:pt x="169" y="45"/>
                    </a:moveTo>
                    <a:cubicBezTo>
                      <a:pt x="168" y="45"/>
                      <a:pt x="166" y="43"/>
                      <a:pt x="166" y="42"/>
                    </a:cubicBezTo>
                    <a:cubicBezTo>
                      <a:pt x="163" y="13"/>
                      <a:pt x="163" y="13"/>
                      <a:pt x="163" y="13"/>
                    </a:cubicBezTo>
                    <a:cubicBezTo>
                      <a:pt x="151" y="105"/>
                      <a:pt x="151" y="105"/>
                      <a:pt x="151" y="105"/>
                    </a:cubicBezTo>
                    <a:cubicBezTo>
                      <a:pt x="150" y="107"/>
                      <a:pt x="149" y="108"/>
                      <a:pt x="147" y="108"/>
                    </a:cubicBezTo>
                    <a:cubicBezTo>
                      <a:pt x="147" y="108"/>
                      <a:pt x="147" y="108"/>
                      <a:pt x="147" y="108"/>
                    </a:cubicBezTo>
                    <a:cubicBezTo>
                      <a:pt x="145" y="108"/>
                      <a:pt x="144" y="107"/>
                      <a:pt x="144" y="105"/>
                    </a:cubicBezTo>
                    <a:cubicBezTo>
                      <a:pt x="136" y="39"/>
                      <a:pt x="136" y="39"/>
                      <a:pt x="136" y="39"/>
                    </a:cubicBezTo>
                    <a:cubicBezTo>
                      <a:pt x="132" y="107"/>
                      <a:pt x="132" y="107"/>
                      <a:pt x="132" y="107"/>
                    </a:cubicBezTo>
                    <a:cubicBezTo>
                      <a:pt x="132" y="109"/>
                      <a:pt x="131" y="110"/>
                      <a:pt x="129" y="110"/>
                    </a:cubicBezTo>
                    <a:cubicBezTo>
                      <a:pt x="129" y="110"/>
                      <a:pt x="129" y="110"/>
                      <a:pt x="129" y="110"/>
                    </a:cubicBezTo>
                    <a:cubicBezTo>
                      <a:pt x="127" y="110"/>
                      <a:pt x="126" y="109"/>
                      <a:pt x="125" y="107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106" y="81"/>
                      <a:pt x="106" y="81"/>
                      <a:pt x="106" y="81"/>
                    </a:cubicBezTo>
                    <a:cubicBezTo>
                      <a:pt x="106" y="83"/>
                      <a:pt x="104" y="84"/>
                      <a:pt x="102" y="84"/>
                    </a:cubicBezTo>
                    <a:cubicBezTo>
                      <a:pt x="100" y="84"/>
                      <a:pt x="99" y="83"/>
                      <a:pt x="99" y="81"/>
                    </a:cubicBezTo>
                    <a:cubicBezTo>
                      <a:pt x="97" y="45"/>
                      <a:pt x="97" y="45"/>
                      <a:pt x="97" y="45"/>
                    </a:cubicBezTo>
                    <a:cubicBezTo>
                      <a:pt x="93" y="79"/>
                      <a:pt x="93" y="79"/>
                      <a:pt x="93" y="79"/>
                    </a:cubicBezTo>
                    <a:cubicBezTo>
                      <a:pt x="93" y="81"/>
                      <a:pt x="92" y="82"/>
                      <a:pt x="90" y="82"/>
                    </a:cubicBezTo>
                    <a:cubicBezTo>
                      <a:pt x="90" y="82"/>
                      <a:pt x="90" y="82"/>
                      <a:pt x="90" y="82"/>
                    </a:cubicBezTo>
                    <a:cubicBezTo>
                      <a:pt x="88" y="82"/>
                      <a:pt x="87" y="81"/>
                      <a:pt x="87" y="79"/>
                    </a:cubicBezTo>
                    <a:cubicBezTo>
                      <a:pt x="82" y="15"/>
                      <a:pt x="82" y="15"/>
                      <a:pt x="82" y="15"/>
                    </a:cubicBezTo>
                    <a:cubicBezTo>
                      <a:pt x="76" y="75"/>
                      <a:pt x="76" y="75"/>
                      <a:pt x="76" y="75"/>
                    </a:cubicBezTo>
                    <a:cubicBezTo>
                      <a:pt x="76" y="77"/>
                      <a:pt x="75" y="79"/>
                      <a:pt x="73" y="79"/>
                    </a:cubicBezTo>
                    <a:cubicBezTo>
                      <a:pt x="71" y="79"/>
                      <a:pt x="70" y="77"/>
                      <a:pt x="69" y="76"/>
                    </a:cubicBezTo>
                    <a:cubicBezTo>
                      <a:pt x="60" y="16"/>
                      <a:pt x="60" y="16"/>
                      <a:pt x="60" y="16"/>
                    </a:cubicBezTo>
                    <a:cubicBezTo>
                      <a:pt x="53" y="43"/>
                      <a:pt x="53" y="43"/>
                      <a:pt x="53" y="43"/>
                    </a:cubicBezTo>
                    <a:cubicBezTo>
                      <a:pt x="52" y="45"/>
                      <a:pt x="51" y="46"/>
                      <a:pt x="49" y="46"/>
                    </a:cubicBezTo>
                    <a:cubicBezTo>
                      <a:pt x="0" y="46"/>
                      <a:pt x="0" y="46"/>
                      <a:pt x="0" y="46"/>
                    </a:cubicBezTo>
                    <a:cubicBezTo>
                      <a:pt x="12" y="91"/>
                      <a:pt x="53" y="125"/>
                      <a:pt x="102" y="125"/>
                    </a:cubicBezTo>
                    <a:cubicBezTo>
                      <a:pt x="151" y="125"/>
                      <a:pt x="192" y="91"/>
                      <a:pt x="203" y="45"/>
                    </a:cubicBezTo>
                    <a:lnTo>
                      <a:pt x="169" y="45"/>
                    </a:lnTo>
                    <a:close/>
                  </a:path>
                </a:pathLst>
              </a:custGeom>
              <a:solidFill>
                <a:schemeClr val="accent5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507523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66" name="Freeform 11">
                <a:extLst>
                  <a:ext uri="{FF2B5EF4-FFF2-40B4-BE49-F238E27FC236}">
                    <a16:creationId xmlns:a16="http://schemas.microsoft.com/office/drawing/2014/main" id="{4BB885BB-B5BE-4DE0-84F4-54BDA0A7FC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9793" y="1081742"/>
                <a:ext cx="172901" cy="172900"/>
              </a:xfrm>
              <a:custGeom>
                <a:avLst/>
                <a:gdLst>
                  <a:gd name="T0" fmla="*/ 191564521 w 53"/>
                  <a:gd name="T1" fmla="*/ 542759198 h 53"/>
                  <a:gd name="T2" fmla="*/ 276703583 w 53"/>
                  <a:gd name="T3" fmla="*/ 532117692 h 53"/>
                  <a:gd name="T4" fmla="*/ 276703583 w 53"/>
                  <a:gd name="T5" fmla="*/ 564045472 h 53"/>
                  <a:gd name="T6" fmla="*/ 361845908 w 53"/>
                  <a:gd name="T7" fmla="*/ 521476187 h 53"/>
                  <a:gd name="T8" fmla="*/ 276703583 w 53"/>
                  <a:gd name="T9" fmla="*/ 564045472 h 53"/>
                  <a:gd name="T10" fmla="*/ 85139062 w 53"/>
                  <a:gd name="T11" fmla="*/ 489548408 h 53"/>
                  <a:gd name="T12" fmla="*/ 170281387 w 53"/>
                  <a:gd name="T13" fmla="*/ 510834681 h 53"/>
                  <a:gd name="T14" fmla="*/ 393770610 w 53"/>
                  <a:gd name="T15" fmla="*/ 532117692 h 53"/>
                  <a:gd name="T16" fmla="*/ 446984970 w 53"/>
                  <a:gd name="T17" fmla="*/ 468265396 h 53"/>
                  <a:gd name="T18" fmla="*/ 393770610 w 53"/>
                  <a:gd name="T19" fmla="*/ 532117692 h 53"/>
                  <a:gd name="T20" fmla="*/ 21286397 w 53"/>
                  <a:gd name="T21" fmla="*/ 393768332 h 53"/>
                  <a:gd name="T22" fmla="*/ 85139062 w 53"/>
                  <a:gd name="T23" fmla="*/ 446979123 h 53"/>
                  <a:gd name="T24" fmla="*/ 489554501 w 53"/>
                  <a:gd name="T25" fmla="*/ 468265396 h 53"/>
                  <a:gd name="T26" fmla="*/ 510840898 w 53"/>
                  <a:gd name="T27" fmla="*/ 372482058 h 53"/>
                  <a:gd name="T28" fmla="*/ 489554501 w 53"/>
                  <a:gd name="T29" fmla="*/ 468265396 h 53"/>
                  <a:gd name="T30" fmla="*/ 0 w 53"/>
                  <a:gd name="T31" fmla="*/ 276701983 h 53"/>
                  <a:gd name="T32" fmla="*/ 31927964 w 53"/>
                  <a:gd name="T33" fmla="*/ 276701983 h 53"/>
                  <a:gd name="T34" fmla="*/ 42569531 w 53"/>
                  <a:gd name="T35" fmla="*/ 351199047 h 53"/>
                  <a:gd name="T36" fmla="*/ 553410429 w 53"/>
                  <a:gd name="T37" fmla="*/ 361840553 h 53"/>
                  <a:gd name="T38" fmla="*/ 532124032 w 53"/>
                  <a:gd name="T39" fmla="*/ 276701983 h 53"/>
                  <a:gd name="T40" fmla="*/ 564051996 w 53"/>
                  <a:gd name="T41" fmla="*/ 266060477 h 53"/>
                  <a:gd name="T42" fmla="*/ 553410429 w 53"/>
                  <a:gd name="T43" fmla="*/ 361840553 h 53"/>
                  <a:gd name="T44" fmla="*/ 0 w 53"/>
                  <a:gd name="T45" fmla="*/ 244774204 h 53"/>
                  <a:gd name="T46" fmla="*/ 53211098 w 53"/>
                  <a:gd name="T47" fmla="*/ 170277140 h 53"/>
                  <a:gd name="T48" fmla="*/ 532124032 w 53"/>
                  <a:gd name="T49" fmla="*/ 244774204 h 53"/>
                  <a:gd name="T50" fmla="*/ 532124032 w 53"/>
                  <a:gd name="T51" fmla="*/ 159635634 h 53"/>
                  <a:gd name="T52" fmla="*/ 532124032 w 53"/>
                  <a:gd name="T53" fmla="*/ 244774204 h 53"/>
                  <a:gd name="T54" fmla="*/ 42569531 w 53"/>
                  <a:gd name="T55" fmla="*/ 127707855 h 53"/>
                  <a:gd name="T56" fmla="*/ 117067026 w 53"/>
                  <a:gd name="T57" fmla="*/ 85138570 h 53"/>
                  <a:gd name="T58" fmla="*/ 489554501 w 53"/>
                  <a:gd name="T59" fmla="*/ 148994128 h 53"/>
                  <a:gd name="T60" fmla="*/ 457626537 w 53"/>
                  <a:gd name="T61" fmla="*/ 63855558 h 53"/>
                  <a:gd name="T62" fmla="*/ 489554501 w 53"/>
                  <a:gd name="T63" fmla="*/ 148994128 h 53"/>
                  <a:gd name="T64" fmla="*/ 127708593 w 53"/>
                  <a:gd name="T65" fmla="*/ 42569285 h 53"/>
                  <a:gd name="T66" fmla="*/ 212850918 w 53"/>
                  <a:gd name="T67" fmla="*/ 31927779 h 53"/>
                  <a:gd name="T68" fmla="*/ 415057006 w 53"/>
                  <a:gd name="T69" fmla="*/ 63855558 h 53"/>
                  <a:gd name="T70" fmla="*/ 351201078 w 53"/>
                  <a:gd name="T71" fmla="*/ 10641506 h 53"/>
                  <a:gd name="T72" fmla="*/ 415057006 w 53"/>
                  <a:gd name="T73" fmla="*/ 63855558 h 53"/>
                  <a:gd name="T74" fmla="*/ 234134052 w 53"/>
                  <a:gd name="T75" fmla="*/ 0 h 53"/>
                  <a:gd name="T76" fmla="*/ 319273114 w 53"/>
                  <a:gd name="T77" fmla="*/ 31927779 h 5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53"/>
                  <a:gd name="T118" fmla="*/ 0 h 53"/>
                  <a:gd name="T119" fmla="*/ 53 w 53"/>
                  <a:gd name="T120" fmla="*/ 53 h 53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53" h="53">
                    <a:moveTo>
                      <a:pt x="26" y="53"/>
                    </a:moveTo>
                    <a:cubicBezTo>
                      <a:pt x="23" y="53"/>
                      <a:pt x="21" y="52"/>
                      <a:pt x="18" y="51"/>
                    </a:cubicBezTo>
                    <a:cubicBezTo>
                      <a:pt x="19" y="49"/>
                      <a:pt x="19" y="49"/>
                      <a:pt x="19" y="49"/>
                    </a:cubicBezTo>
                    <a:cubicBezTo>
                      <a:pt x="21" y="50"/>
                      <a:pt x="24" y="50"/>
                      <a:pt x="26" y="50"/>
                    </a:cubicBezTo>
                    <a:cubicBezTo>
                      <a:pt x="26" y="53"/>
                      <a:pt x="26" y="53"/>
                      <a:pt x="26" y="53"/>
                    </a:cubicBezTo>
                    <a:close/>
                    <a:moveTo>
                      <a:pt x="26" y="53"/>
                    </a:moveTo>
                    <a:cubicBezTo>
                      <a:pt x="26" y="50"/>
                      <a:pt x="26" y="50"/>
                      <a:pt x="26" y="50"/>
                    </a:cubicBezTo>
                    <a:cubicBezTo>
                      <a:pt x="29" y="50"/>
                      <a:pt x="31" y="50"/>
                      <a:pt x="34" y="49"/>
                    </a:cubicBezTo>
                    <a:cubicBezTo>
                      <a:pt x="35" y="51"/>
                      <a:pt x="35" y="51"/>
                      <a:pt x="35" y="51"/>
                    </a:cubicBezTo>
                    <a:cubicBezTo>
                      <a:pt x="32" y="52"/>
                      <a:pt x="29" y="53"/>
                      <a:pt x="26" y="53"/>
                    </a:cubicBezTo>
                    <a:close/>
                    <a:moveTo>
                      <a:pt x="15" y="50"/>
                    </a:moveTo>
                    <a:cubicBezTo>
                      <a:pt x="13" y="49"/>
                      <a:pt x="10" y="48"/>
                      <a:pt x="8" y="46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12" y="45"/>
                      <a:pt x="14" y="47"/>
                      <a:pt x="16" y="48"/>
                    </a:cubicBezTo>
                    <a:cubicBezTo>
                      <a:pt x="15" y="50"/>
                      <a:pt x="15" y="50"/>
                      <a:pt x="15" y="50"/>
                    </a:cubicBezTo>
                    <a:close/>
                    <a:moveTo>
                      <a:pt x="37" y="50"/>
                    </a:moveTo>
                    <a:cubicBezTo>
                      <a:pt x="36" y="48"/>
                      <a:pt x="36" y="48"/>
                      <a:pt x="36" y="48"/>
                    </a:cubicBezTo>
                    <a:cubicBezTo>
                      <a:pt x="38" y="47"/>
                      <a:pt x="41" y="45"/>
                      <a:pt x="42" y="44"/>
                    </a:cubicBezTo>
                    <a:cubicBezTo>
                      <a:pt x="44" y="46"/>
                      <a:pt x="44" y="46"/>
                      <a:pt x="44" y="46"/>
                    </a:cubicBezTo>
                    <a:cubicBezTo>
                      <a:pt x="42" y="47"/>
                      <a:pt x="40" y="49"/>
                      <a:pt x="37" y="50"/>
                    </a:cubicBezTo>
                    <a:close/>
                    <a:moveTo>
                      <a:pt x="6" y="44"/>
                    </a:moveTo>
                    <a:cubicBezTo>
                      <a:pt x="5" y="42"/>
                      <a:pt x="3" y="39"/>
                      <a:pt x="2" y="37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5" y="38"/>
                      <a:pt x="7" y="40"/>
                      <a:pt x="8" y="42"/>
                    </a:cubicBezTo>
                    <a:cubicBezTo>
                      <a:pt x="6" y="44"/>
                      <a:pt x="6" y="44"/>
                      <a:pt x="6" y="44"/>
                    </a:cubicBezTo>
                    <a:close/>
                    <a:moveTo>
                      <a:pt x="46" y="44"/>
                    </a:moveTo>
                    <a:cubicBezTo>
                      <a:pt x="44" y="42"/>
                      <a:pt x="44" y="42"/>
                      <a:pt x="44" y="42"/>
                    </a:cubicBezTo>
                    <a:cubicBezTo>
                      <a:pt x="46" y="40"/>
                      <a:pt x="47" y="38"/>
                      <a:pt x="48" y="35"/>
                    </a:cubicBezTo>
                    <a:cubicBezTo>
                      <a:pt x="51" y="36"/>
                      <a:pt x="51" y="36"/>
                      <a:pt x="51" y="36"/>
                    </a:cubicBezTo>
                    <a:cubicBezTo>
                      <a:pt x="50" y="39"/>
                      <a:pt x="48" y="41"/>
                      <a:pt x="46" y="44"/>
                    </a:cubicBezTo>
                    <a:close/>
                    <a:moveTo>
                      <a:pt x="1" y="34"/>
                    </a:moveTo>
                    <a:cubicBezTo>
                      <a:pt x="0" y="31"/>
                      <a:pt x="0" y="29"/>
                      <a:pt x="0" y="26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9"/>
                      <a:pt x="3" y="31"/>
                      <a:pt x="4" y="33"/>
                    </a:cubicBezTo>
                    <a:cubicBezTo>
                      <a:pt x="1" y="34"/>
                      <a:pt x="1" y="34"/>
                      <a:pt x="1" y="34"/>
                    </a:cubicBezTo>
                    <a:close/>
                    <a:moveTo>
                      <a:pt x="52" y="34"/>
                    </a:moveTo>
                    <a:cubicBezTo>
                      <a:pt x="49" y="33"/>
                      <a:pt x="49" y="33"/>
                      <a:pt x="49" y="33"/>
                    </a:cubicBezTo>
                    <a:cubicBezTo>
                      <a:pt x="50" y="31"/>
                      <a:pt x="50" y="29"/>
                      <a:pt x="50" y="26"/>
                    </a:cubicBezTo>
                    <a:cubicBezTo>
                      <a:pt x="50" y="26"/>
                      <a:pt x="50" y="26"/>
                      <a:pt x="50" y="26"/>
                    </a:cubicBezTo>
                    <a:cubicBezTo>
                      <a:pt x="53" y="25"/>
                      <a:pt x="53" y="25"/>
                      <a:pt x="53" y="25"/>
                    </a:cubicBezTo>
                    <a:cubicBezTo>
                      <a:pt x="53" y="26"/>
                      <a:pt x="53" y="26"/>
                      <a:pt x="53" y="26"/>
                    </a:cubicBezTo>
                    <a:cubicBezTo>
                      <a:pt x="53" y="29"/>
                      <a:pt x="52" y="31"/>
                      <a:pt x="52" y="34"/>
                    </a:cubicBezTo>
                    <a:close/>
                    <a:moveTo>
                      <a:pt x="3" y="23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0" y="20"/>
                      <a:pt x="1" y="17"/>
                      <a:pt x="3" y="15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8"/>
                      <a:pt x="3" y="21"/>
                      <a:pt x="3" y="23"/>
                    </a:cubicBezTo>
                    <a:close/>
                    <a:moveTo>
                      <a:pt x="50" y="23"/>
                    </a:moveTo>
                    <a:cubicBezTo>
                      <a:pt x="49" y="21"/>
                      <a:pt x="49" y="18"/>
                      <a:pt x="48" y="16"/>
                    </a:cubicBezTo>
                    <a:cubicBezTo>
                      <a:pt x="50" y="15"/>
                      <a:pt x="50" y="15"/>
                      <a:pt x="50" y="15"/>
                    </a:cubicBezTo>
                    <a:cubicBezTo>
                      <a:pt x="51" y="17"/>
                      <a:pt x="52" y="20"/>
                      <a:pt x="52" y="23"/>
                    </a:cubicBezTo>
                    <a:cubicBezTo>
                      <a:pt x="50" y="23"/>
                      <a:pt x="50" y="23"/>
                      <a:pt x="50" y="23"/>
                    </a:cubicBezTo>
                    <a:close/>
                    <a:moveTo>
                      <a:pt x="6" y="14"/>
                    </a:moveTo>
                    <a:cubicBezTo>
                      <a:pt x="4" y="12"/>
                      <a:pt x="4" y="12"/>
                      <a:pt x="4" y="12"/>
                    </a:cubicBezTo>
                    <a:cubicBezTo>
                      <a:pt x="5" y="10"/>
                      <a:pt x="7" y="8"/>
                      <a:pt x="9" y="6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9" y="10"/>
                      <a:pt x="7" y="12"/>
                      <a:pt x="6" y="14"/>
                    </a:cubicBezTo>
                    <a:close/>
                    <a:moveTo>
                      <a:pt x="46" y="14"/>
                    </a:moveTo>
                    <a:cubicBezTo>
                      <a:pt x="45" y="11"/>
                      <a:pt x="43" y="10"/>
                      <a:pt x="41" y="8"/>
                    </a:cubicBezTo>
                    <a:cubicBezTo>
                      <a:pt x="43" y="6"/>
                      <a:pt x="43" y="6"/>
                      <a:pt x="43" y="6"/>
                    </a:cubicBezTo>
                    <a:cubicBezTo>
                      <a:pt x="45" y="8"/>
                      <a:pt x="47" y="10"/>
                      <a:pt x="49" y="12"/>
                    </a:cubicBezTo>
                    <a:cubicBezTo>
                      <a:pt x="46" y="14"/>
                      <a:pt x="46" y="14"/>
                      <a:pt x="46" y="14"/>
                    </a:cubicBezTo>
                    <a:close/>
                    <a:moveTo>
                      <a:pt x="13" y="7"/>
                    </a:moveTo>
                    <a:cubicBezTo>
                      <a:pt x="12" y="4"/>
                      <a:pt x="12" y="4"/>
                      <a:pt x="12" y="4"/>
                    </a:cubicBezTo>
                    <a:cubicBezTo>
                      <a:pt x="14" y="3"/>
                      <a:pt x="17" y="2"/>
                      <a:pt x="19" y="1"/>
                    </a:cubicBezTo>
                    <a:cubicBezTo>
                      <a:pt x="20" y="3"/>
                      <a:pt x="20" y="3"/>
                      <a:pt x="20" y="3"/>
                    </a:cubicBezTo>
                    <a:cubicBezTo>
                      <a:pt x="18" y="4"/>
                      <a:pt x="15" y="5"/>
                      <a:pt x="13" y="7"/>
                    </a:cubicBezTo>
                    <a:close/>
                    <a:moveTo>
                      <a:pt x="39" y="6"/>
                    </a:moveTo>
                    <a:cubicBezTo>
                      <a:pt x="37" y="5"/>
                      <a:pt x="35" y="4"/>
                      <a:pt x="32" y="3"/>
                    </a:cubicBezTo>
                    <a:cubicBezTo>
                      <a:pt x="33" y="1"/>
                      <a:pt x="33" y="1"/>
                      <a:pt x="33" y="1"/>
                    </a:cubicBezTo>
                    <a:cubicBezTo>
                      <a:pt x="36" y="2"/>
                      <a:pt x="38" y="3"/>
                      <a:pt x="41" y="4"/>
                    </a:cubicBezTo>
                    <a:cubicBezTo>
                      <a:pt x="39" y="6"/>
                      <a:pt x="39" y="6"/>
                      <a:pt x="39" y="6"/>
                    </a:cubicBezTo>
                    <a:close/>
                    <a:moveTo>
                      <a:pt x="22" y="3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25" y="0"/>
                      <a:pt x="28" y="0"/>
                      <a:pt x="30" y="0"/>
                    </a:cubicBezTo>
                    <a:cubicBezTo>
                      <a:pt x="30" y="3"/>
                      <a:pt x="30" y="3"/>
                      <a:pt x="30" y="3"/>
                    </a:cubicBezTo>
                    <a:cubicBezTo>
                      <a:pt x="28" y="2"/>
                      <a:pt x="25" y="2"/>
                      <a:pt x="22" y="3"/>
                    </a:cubicBezTo>
                    <a:close/>
                  </a:path>
                </a:pathLst>
              </a:custGeom>
              <a:solidFill>
                <a:srgbClr val="E5E8E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defTabSz="507523"/>
                <a:endParaRPr lang="en-US" sz="1998">
                  <a:solidFill>
                    <a:prstClr val="black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</p:grpSp>
        <p:sp>
          <p:nvSpPr>
            <p:cNvPr id="39" name="Rectangle 137">
              <a:extLst>
                <a:ext uri="{FF2B5EF4-FFF2-40B4-BE49-F238E27FC236}">
                  <a16:creationId xmlns:a16="http://schemas.microsoft.com/office/drawing/2014/main" id="{E1D62EA4-6BD2-4012-8251-800752401814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 rot="16200000">
              <a:off x="-1272127" y="1987541"/>
              <a:ext cx="2313668" cy="5101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algn="ctr" defTabSz="1014582">
                <a:defRPr/>
              </a:pPr>
              <a:r>
                <a:rPr lang="en-US" sz="1776" b="1" kern="0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Security Analytics</a:t>
              </a:r>
            </a:p>
          </p:txBody>
        </p:sp>
        <p:sp>
          <p:nvSpPr>
            <p:cNvPr id="40" name="Rectangle 143">
              <a:extLst>
                <a:ext uri="{FF2B5EF4-FFF2-40B4-BE49-F238E27FC236}">
                  <a16:creationId xmlns:a16="http://schemas.microsoft.com/office/drawing/2014/main" id="{467A2111-E617-47E7-874D-EAC9F0F27BBA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2614615" y="1374149"/>
              <a:ext cx="1871010" cy="55592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/>
              <a:r>
                <a:rPr lang="en-US" sz="1998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Mobile Monitoring</a:t>
              </a:r>
            </a:p>
          </p:txBody>
        </p:sp>
        <p:sp>
          <p:nvSpPr>
            <p:cNvPr id="41" name="Rectangle 144">
              <a:extLst>
                <a:ext uri="{FF2B5EF4-FFF2-40B4-BE49-F238E27FC236}">
                  <a16:creationId xmlns:a16="http://schemas.microsoft.com/office/drawing/2014/main" id="{B9A297A2-FFFC-4C14-BA75-CA2DB2F2929F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 rot="16200000">
              <a:off x="8334551" y="368880"/>
              <a:ext cx="878975" cy="510176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>
                <a:defRPr/>
              </a:pPr>
              <a:r>
                <a:rPr lang="en-US" sz="1998" kern="0">
                  <a:solidFill>
                    <a:schemeClr val="tx2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Security</a:t>
              </a:r>
              <a:endParaRPr lang="en-US" sz="2220" kern="0">
                <a:solidFill>
                  <a:schemeClr val="tx2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42" name="Rectangle 145">
              <a:extLst>
                <a:ext uri="{FF2B5EF4-FFF2-40B4-BE49-F238E27FC236}">
                  <a16:creationId xmlns:a16="http://schemas.microsoft.com/office/drawing/2014/main" id="{96403E08-1DD0-4005-B0B8-B1DDD80983D4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3318588" y="4020131"/>
              <a:ext cx="834613" cy="45944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/>
              <a:r>
                <a:rPr lang="en-US" sz="2220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Virtual</a:t>
              </a:r>
            </a:p>
          </p:txBody>
        </p:sp>
        <p:grpSp>
          <p:nvGrpSpPr>
            <p:cNvPr id="43" name="Group 156">
              <a:extLst>
                <a:ext uri="{FF2B5EF4-FFF2-40B4-BE49-F238E27FC236}">
                  <a16:creationId xmlns:a16="http://schemas.microsoft.com/office/drawing/2014/main" id="{0598B6A8-7287-4DE6-ACE5-CC664549B806}"/>
                </a:ext>
              </a:extLst>
            </p:cNvPr>
            <p:cNvGrpSpPr/>
            <p:nvPr/>
          </p:nvGrpSpPr>
          <p:grpSpPr>
            <a:xfrm>
              <a:off x="1670277" y="1394371"/>
              <a:ext cx="687657" cy="486372"/>
              <a:chOff x="2051500" y="1709737"/>
              <a:chExt cx="567875" cy="422392"/>
            </a:xfrm>
          </p:grpSpPr>
          <p:sp>
            <p:nvSpPr>
              <p:cNvPr id="53" name="Rounded Rectangle 157">
                <a:extLst>
                  <a:ext uri="{FF2B5EF4-FFF2-40B4-BE49-F238E27FC236}">
                    <a16:creationId xmlns:a16="http://schemas.microsoft.com/office/drawing/2014/main" id="{E89DD598-7138-4951-9998-46E87B75C877}"/>
                  </a:ext>
                </a:extLst>
              </p:cNvPr>
              <p:cNvSpPr/>
              <p:nvPr/>
            </p:nvSpPr>
            <p:spPr>
              <a:xfrm>
                <a:off x="2307981" y="1709737"/>
                <a:ext cx="143241" cy="114761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7523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54" name="Rounded Rectangle 158">
                <a:extLst>
                  <a:ext uri="{FF2B5EF4-FFF2-40B4-BE49-F238E27FC236}">
                    <a16:creationId xmlns:a16="http://schemas.microsoft.com/office/drawing/2014/main" id="{5955D9C5-4BEA-4807-9D66-38AD4CD8B025}"/>
                  </a:ext>
                </a:extLst>
              </p:cNvPr>
              <p:cNvSpPr/>
              <p:nvPr/>
            </p:nvSpPr>
            <p:spPr>
              <a:xfrm>
                <a:off x="2133600" y="1858501"/>
                <a:ext cx="143241" cy="114761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7523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55" name="Rounded Rectangle 159">
                <a:extLst>
                  <a:ext uri="{FF2B5EF4-FFF2-40B4-BE49-F238E27FC236}">
                    <a16:creationId xmlns:a16="http://schemas.microsoft.com/office/drawing/2014/main" id="{E3C95DD5-3BF5-4491-954C-9E2B62D584E3}"/>
                  </a:ext>
                </a:extLst>
              </p:cNvPr>
              <p:cNvSpPr/>
              <p:nvPr/>
            </p:nvSpPr>
            <p:spPr>
              <a:xfrm>
                <a:off x="2307981" y="1856376"/>
                <a:ext cx="143241" cy="114761"/>
              </a:xfrm>
              <a:prstGeom prst="roundRect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7523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56" name="Rounded Rectangle 160">
                <a:extLst>
                  <a:ext uri="{FF2B5EF4-FFF2-40B4-BE49-F238E27FC236}">
                    <a16:creationId xmlns:a16="http://schemas.microsoft.com/office/drawing/2014/main" id="{4DB9A439-90BC-45F9-981F-7E285237F3C2}"/>
                  </a:ext>
                </a:extLst>
              </p:cNvPr>
              <p:cNvSpPr/>
              <p:nvPr/>
            </p:nvSpPr>
            <p:spPr>
              <a:xfrm>
                <a:off x="2476134" y="1856376"/>
                <a:ext cx="143241" cy="114761"/>
              </a:xfrm>
              <a:prstGeom prst="roundRect">
                <a:avLst/>
              </a:prstGeom>
              <a:solidFill>
                <a:schemeClr val="tx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7523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cxnSp>
            <p:nvCxnSpPr>
              <p:cNvPr id="57" name="Elbow Connector 161">
                <a:extLst>
                  <a:ext uri="{FF2B5EF4-FFF2-40B4-BE49-F238E27FC236}">
                    <a16:creationId xmlns:a16="http://schemas.microsoft.com/office/drawing/2014/main" id="{4FD843B0-AFFB-4563-89E6-D82A1FDFE9DE}"/>
                  </a:ext>
                </a:extLst>
              </p:cNvPr>
              <p:cNvCxnSpPr>
                <a:cxnSpLocks/>
                <a:stCxn id="53" idx="2"/>
                <a:endCxn id="54" idx="0"/>
              </p:cNvCxnSpPr>
              <p:nvPr/>
            </p:nvCxnSpPr>
            <p:spPr>
              <a:xfrm rot="5400000">
                <a:off x="2275409" y="1754309"/>
                <a:ext cx="34003" cy="174381"/>
              </a:xfrm>
              <a:prstGeom prst="bentConnector3">
                <a:avLst/>
              </a:prstGeom>
              <a:ln w="1270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Elbow Connector 162">
                <a:extLst>
                  <a:ext uri="{FF2B5EF4-FFF2-40B4-BE49-F238E27FC236}">
                    <a16:creationId xmlns:a16="http://schemas.microsoft.com/office/drawing/2014/main" id="{74ADDFA5-CAFF-4BFF-9250-1DB068F38EC5}"/>
                  </a:ext>
                </a:extLst>
              </p:cNvPr>
              <p:cNvCxnSpPr>
                <a:cxnSpLocks/>
                <a:stCxn id="53" idx="2"/>
                <a:endCxn id="55" idx="0"/>
              </p:cNvCxnSpPr>
              <p:nvPr/>
            </p:nvCxnSpPr>
            <p:spPr>
              <a:xfrm rot="5400000">
                <a:off x="2363662" y="1841195"/>
                <a:ext cx="31878" cy="4152"/>
              </a:xfrm>
              <a:prstGeom prst="bentConnector3">
                <a:avLst>
                  <a:gd name="adj1" fmla="val 50000"/>
                </a:avLst>
              </a:prstGeom>
              <a:ln w="1270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Elbow Connector 163">
                <a:extLst>
                  <a:ext uri="{FF2B5EF4-FFF2-40B4-BE49-F238E27FC236}">
                    <a16:creationId xmlns:a16="http://schemas.microsoft.com/office/drawing/2014/main" id="{58025631-A8CC-4792-8DF0-995D64E9CA30}"/>
                  </a:ext>
                </a:extLst>
              </p:cNvPr>
              <p:cNvCxnSpPr>
                <a:cxnSpLocks/>
                <a:stCxn id="53" idx="2"/>
                <a:endCxn id="56" idx="0"/>
              </p:cNvCxnSpPr>
              <p:nvPr/>
            </p:nvCxnSpPr>
            <p:spPr>
              <a:xfrm rot="16200000" flipH="1">
                <a:off x="2447739" y="1756361"/>
                <a:ext cx="31878" cy="168153"/>
              </a:xfrm>
              <a:prstGeom prst="bentConnector3">
                <a:avLst/>
              </a:prstGeom>
              <a:ln w="1270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0" name="Rounded Rectangle 164">
                <a:extLst>
                  <a:ext uri="{FF2B5EF4-FFF2-40B4-BE49-F238E27FC236}">
                    <a16:creationId xmlns:a16="http://schemas.microsoft.com/office/drawing/2014/main" id="{EE34B382-0430-48AB-90DA-42D21AF5F6C0}"/>
                  </a:ext>
                </a:extLst>
              </p:cNvPr>
              <p:cNvSpPr/>
              <p:nvPr/>
            </p:nvSpPr>
            <p:spPr>
              <a:xfrm>
                <a:off x="2051500" y="2017368"/>
                <a:ext cx="143241" cy="114761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7523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sp>
            <p:nvSpPr>
              <p:cNvPr id="61" name="Rounded Rectangle 165">
                <a:extLst>
                  <a:ext uri="{FF2B5EF4-FFF2-40B4-BE49-F238E27FC236}">
                    <a16:creationId xmlns:a16="http://schemas.microsoft.com/office/drawing/2014/main" id="{CA077A77-70DC-46ED-BD16-E404B364EA61}"/>
                  </a:ext>
                </a:extLst>
              </p:cNvPr>
              <p:cNvSpPr/>
              <p:nvPr/>
            </p:nvSpPr>
            <p:spPr>
              <a:xfrm>
                <a:off x="2225881" y="2015243"/>
                <a:ext cx="143241" cy="114761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07523"/>
                <a:endParaRPr lang="en-US" sz="1998">
                  <a:solidFill>
                    <a:prstClr val="white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endParaRPr>
              </a:p>
            </p:txBody>
          </p:sp>
          <p:cxnSp>
            <p:nvCxnSpPr>
              <p:cNvPr id="62" name="Elbow Connector 166">
                <a:extLst>
                  <a:ext uri="{FF2B5EF4-FFF2-40B4-BE49-F238E27FC236}">
                    <a16:creationId xmlns:a16="http://schemas.microsoft.com/office/drawing/2014/main" id="{FB0919F5-AD1A-4B24-A3DD-71ED407580B7}"/>
                  </a:ext>
                </a:extLst>
              </p:cNvPr>
              <p:cNvCxnSpPr>
                <a:cxnSpLocks/>
                <a:stCxn id="54" idx="2"/>
                <a:endCxn id="60" idx="0"/>
              </p:cNvCxnSpPr>
              <p:nvPr/>
            </p:nvCxnSpPr>
            <p:spPr>
              <a:xfrm rot="5400000">
                <a:off x="2142118" y="1954265"/>
                <a:ext cx="44106" cy="82100"/>
              </a:xfrm>
              <a:prstGeom prst="bentConnector3">
                <a:avLst/>
              </a:prstGeom>
              <a:ln w="1270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Elbow Connector 167">
                <a:extLst>
                  <a:ext uri="{FF2B5EF4-FFF2-40B4-BE49-F238E27FC236}">
                    <a16:creationId xmlns:a16="http://schemas.microsoft.com/office/drawing/2014/main" id="{42FFF794-3BE3-420B-8C71-B42890FEE5FC}"/>
                  </a:ext>
                </a:extLst>
              </p:cNvPr>
              <p:cNvCxnSpPr>
                <a:cxnSpLocks/>
                <a:stCxn id="54" idx="2"/>
                <a:endCxn id="61" idx="0"/>
              </p:cNvCxnSpPr>
              <p:nvPr/>
            </p:nvCxnSpPr>
            <p:spPr>
              <a:xfrm rot="16200000" flipH="1">
                <a:off x="2230371" y="1948111"/>
                <a:ext cx="41981" cy="92281"/>
              </a:xfrm>
              <a:prstGeom prst="bentConnector3">
                <a:avLst>
                  <a:gd name="adj1" fmla="val 50000"/>
                </a:avLst>
              </a:prstGeom>
              <a:ln w="12700" cmpd="sng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4" name="Rectangle 168">
              <a:extLst>
                <a:ext uri="{FF2B5EF4-FFF2-40B4-BE49-F238E27FC236}">
                  <a16:creationId xmlns:a16="http://schemas.microsoft.com/office/drawing/2014/main" id="{DAF7A171-FDB3-4B0A-8064-B53D6C4630A0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347897" y="1233882"/>
              <a:ext cx="1558985" cy="45944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/>
              <a:r>
                <a:rPr lang="en-US" sz="2220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IT operations</a:t>
              </a:r>
            </a:p>
          </p:txBody>
        </p:sp>
        <p:sp>
          <p:nvSpPr>
            <p:cNvPr id="45" name="Rectangle 169">
              <a:extLst>
                <a:ext uri="{FF2B5EF4-FFF2-40B4-BE49-F238E27FC236}">
                  <a16:creationId xmlns:a16="http://schemas.microsoft.com/office/drawing/2014/main" id="{32A58E15-46AB-4522-9228-2E1DA6F03606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>
            <a:xfrm>
              <a:off x="2944652" y="3131726"/>
              <a:ext cx="3154162" cy="555927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50729" rIns="0" bIns="50729" rtlCol="0" anchor="ctr"/>
            <a:lstStyle/>
            <a:p>
              <a:pPr defTabSz="1014582"/>
              <a:r>
                <a:rPr lang="en-US" sz="1998" b="1" kern="0">
                  <a:solidFill>
                    <a:srgbClr val="87898B"/>
                  </a:solidFill>
                  <a:latin typeface="Ebrima" panose="02000000000000000000" pitchFamily="2" charset="0"/>
                  <a:ea typeface="Ebrima" panose="02000000000000000000" pitchFamily="2" charset="0"/>
                  <a:cs typeface="Ebrima" panose="02000000000000000000" pitchFamily="2" charset="0"/>
                </a:rPr>
                <a:t>Systems Monitoring</a:t>
              </a:r>
            </a:p>
          </p:txBody>
        </p:sp>
        <p:sp>
          <p:nvSpPr>
            <p:cNvPr id="46" name="Freeform 57">
              <a:extLst>
                <a:ext uri="{FF2B5EF4-FFF2-40B4-BE49-F238E27FC236}">
                  <a16:creationId xmlns:a16="http://schemas.microsoft.com/office/drawing/2014/main" id="{BB92E6DE-A73B-414C-BDDE-53D6D14FBD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33028" y="3558012"/>
              <a:ext cx="466932" cy="694384"/>
            </a:xfrm>
            <a:custGeom>
              <a:avLst/>
              <a:gdLst>
                <a:gd name="T0" fmla="*/ 1019222987 w 46"/>
                <a:gd name="T1" fmla="*/ 0 h 64"/>
                <a:gd name="T2" fmla="*/ 1019222987 w 46"/>
                <a:gd name="T3" fmla="*/ 0 h 64"/>
                <a:gd name="T4" fmla="*/ 1267140107 w 46"/>
                <a:gd name="T5" fmla="*/ 248390734 h 64"/>
                <a:gd name="T6" fmla="*/ 1267140107 w 46"/>
                <a:gd name="T7" fmla="*/ 1766352784 h 64"/>
                <a:gd name="T8" fmla="*/ 220373105 w 46"/>
                <a:gd name="T9" fmla="*/ 1766352784 h 64"/>
                <a:gd name="T10" fmla="*/ 0 w 46"/>
                <a:gd name="T11" fmla="*/ 1517956797 h 64"/>
                <a:gd name="T12" fmla="*/ 0 w 46"/>
                <a:gd name="T13" fmla="*/ 0 h 64"/>
                <a:gd name="T14" fmla="*/ 1019222987 w 46"/>
                <a:gd name="T15" fmla="*/ 0 h 6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6"/>
                <a:gd name="T25" fmla="*/ 0 h 64"/>
                <a:gd name="T26" fmla="*/ 46 w 46"/>
                <a:gd name="T27" fmla="*/ 64 h 6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6" h="64">
                  <a:moveTo>
                    <a:pt x="37" y="0"/>
                  </a:moveTo>
                  <a:cubicBezTo>
                    <a:pt x="37" y="0"/>
                    <a:pt x="37" y="0"/>
                    <a:pt x="37" y="0"/>
                  </a:cubicBezTo>
                  <a:cubicBezTo>
                    <a:pt x="43" y="0"/>
                    <a:pt x="46" y="3"/>
                    <a:pt x="46" y="9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2" y="64"/>
                    <a:pt x="0" y="61"/>
                    <a:pt x="0" y="5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7" y="0"/>
                    <a:pt x="37" y="0"/>
                    <a:pt x="37" y="0"/>
                  </a:cubicBezTo>
                  <a:close/>
                </a:path>
              </a:pathLst>
            </a:cu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507523"/>
              <a:endParaRPr lang="en-US" sz="1998">
                <a:solidFill>
                  <a:schemeClr val="accent4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cxnSp>
          <p:nvCxnSpPr>
            <p:cNvPr id="47" name="Straight Connector 11">
              <a:extLst>
                <a:ext uri="{FF2B5EF4-FFF2-40B4-BE49-F238E27FC236}">
                  <a16:creationId xmlns:a16="http://schemas.microsoft.com/office/drawing/2014/main" id="{5A9441FC-3592-4388-8397-DBFB3E871CFE}"/>
                </a:ext>
              </a:extLst>
            </p:cNvPr>
            <p:cNvCxnSpPr/>
            <p:nvPr/>
          </p:nvCxnSpPr>
          <p:spPr>
            <a:xfrm>
              <a:off x="4520688" y="3679592"/>
              <a:ext cx="366422" cy="0"/>
            </a:xfrm>
            <a:prstGeom prst="line">
              <a:avLst/>
            </a:prstGeom>
            <a:ln w="34925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173">
              <a:extLst>
                <a:ext uri="{FF2B5EF4-FFF2-40B4-BE49-F238E27FC236}">
                  <a16:creationId xmlns:a16="http://schemas.microsoft.com/office/drawing/2014/main" id="{C72330D5-464A-4179-B395-2D01795F2F16}"/>
                </a:ext>
              </a:extLst>
            </p:cNvPr>
            <p:cNvCxnSpPr/>
            <p:nvPr/>
          </p:nvCxnSpPr>
          <p:spPr>
            <a:xfrm>
              <a:off x="4520688" y="3764141"/>
              <a:ext cx="366422" cy="0"/>
            </a:xfrm>
            <a:prstGeom prst="line">
              <a:avLst/>
            </a:prstGeom>
            <a:ln w="34925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174">
              <a:extLst>
                <a:ext uri="{FF2B5EF4-FFF2-40B4-BE49-F238E27FC236}">
                  <a16:creationId xmlns:a16="http://schemas.microsoft.com/office/drawing/2014/main" id="{5A9C9A97-D868-4D42-8423-1C44D3BE1A5F}"/>
                </a:ext>
              </a:extLst>
            </p:cNvPr>
            <p:cNvCxnSpPr/>
            <p:nvPr/>
          </p:nvCxnSpPr>
          <p:spPr>
            <a:xfrm>
              <a:off x="4520688" y="3848691"/>
              <a:ext cx="366422" cy="0"/>
            </a:xfrm>
            <a:prstGeom prst="line">
              <a:avLst/>
            </a:prstGeom>
            <a:ln w="34925" cmpd="sng">
              <a:solidFill>
                <a:schemeClr val="accent6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id="{81935981-C456-4BF6-A635-177C6FB9AD1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6820" y="267028"/>
              <a:ext cx="600733" cy="717019"/>
            </a:xfrm>
            <a:custGeom>
              <a:avLst/>
              <a:gdLst>
                <a:gd name="T0" fmla="*/ 112 w 225"/>
                <a:gd name="T1" fmla="*/ 239 h 239"/>
                <a:gd name="T2" fmla="*/ 203 w 225"/>
                <a:gd name="T3" fmla="*/ 160 h 239"/>
                <a:gd name="T4" fmla="*/ 221 w 225"/>
                <a:gd name="T5" fmla="*/ 26 h 239"/>
                <a:gd name="T6" fmla="*/ 112 w 225"/>
                <a:gd name="T7" fmla="*/ 0 h 239"/>
                <a:gd name="T8" fmla="*/ 4 w 225"/>
                <a:gd name="T9" fmla="*/ 26 h 239"/>
                <a:gd name="T10" fmla="*/ 22 w 225"/>
                <a:gd name="T11" fmla="*/ 160 h 239"/>
                <a:gd name="T12" fmla="*/ 112 w 22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" h="239">
                  <a:moveTo>
                    <a:pt x="112" y="239"/>
                  </a:moveTo>
                  <a:cubicBezTo>
                    <a:pt x="158" y="222"/>
                    <a:pt x="187" y="194"/>
                    <a:pt x="203" y="160"/>
                  </a:cubicBezTo>
                  <a:cubicBezTo>
                    <a:pt x="225" y="111"/>
                    <a:pt x="221" y="26"/>
                    <a:pt x="221" y="26"/>
                  </a:cubicBezTo>
                  <a:cubicBezTo>
                    <a:pt x="153" y="26"/>
                    <a:pt x="112" y="0"/>
                    <a:pt x="112" y="0"/>
                  </a:cubicBezTo>
                  <a:cubicBezTo>
                    <a:pt x="112" y="0"/>
                    <a:pt x="71" y="26"/>
                    <a:pt x="4" y="26"/>
                  </a:cubicBezTo>
                  <a:cubicBezTo>
                    <a:pt x="4" y="26"/>
                    <a:pt x="0" y="111"/>
                    <a:pt x="22" y="160"/>
                  </a:cubicBezTo>
                  <a:cubicBezTo>
                    <a:pt x="38" y="194"/>
                    <a:pt x="67" y="222"/>
                    <a:pt x="112" y="239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101506" tIns="50752" rIns="101506" bIns="50752" numCol="1" anchor="t" anchorCtr="0" compatLnSpc="1">
              <a:prstTxWarp prst="textNoShape">
                <a:avLst/>
              </a:prstTxWarp>
            </a:bodyPr>
            <a:lstStyle/>
            <a:p>
              <a:pPr defTabSz="507523"/>
              <a:endParaRPr lang="en-US" sz="1998">
                <a:solidFill>
                  <a:prstClr val="black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sp>
          <p:nvSpPr>
            <p:cNvPr id="51" name="Freeform 178">
              <a:extLst>
                <a:ext uri="{FF2B5EF4-FFF2-40B4-BE49-F238E27FC236}">
                  <a16:creationId xmlns:a16="http://schemas.microsoft.com/office/drawing/2014/main" id="{0636A85F-6570-404A-B136-901407A43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1861" y="344982"/>
              <a:ext cx="428010" cy="510862"/>
            </a:xfrm>
            <a:custGeom>
              <a:avLst/>
              <a:gdLst>
                <a:gd name="T0" fmla="*/ 112 w 225"/>
                <a:gd name="T1" fmla="*/ 239 h 239"/>
                <a:gd name="T2" fmla="*/ 203 w 225"/>
                <a:gd name="T3" fmla="*/ 160 h 239"/>
                <a:gd name="T4" fmla="*/ 221 w 225"/>
                <a:gd name="T5" fmla="*/ 26 h 239"/>
                <a:gd name="T6" fmla="*/ 112 w 225"/>
                <a:gd name="T7" fmla="*/ 0 h 239"/>
                <a:gd name="T8" fmla="*/ 4 w 225"/>
                <a:gd name="T9" fmla="*/ 26 h 239"/>
                <a:gd name="T10" fmla="*/ 22 w 225"/>
                <a:gd name="T11" fmla="*/ 160 h 239"/>
                <a:gd name="T12" fmla="*/ 112 w 225"/>
                <a:gd name="T1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" h="239">
                  <a:moveTo>
                    <a:pt x="112" y="239"/>
                  </a:moveTo>
                  <a:cubicBezTo>
                    <a:pt x="158" y="222"/>
                    <a:pt x="187" y="194"/>
                    <a:pt x="203" y="160"/>
                  </a:cubicBezTo>
                  <a:cubicBezTo>
                    <a:pt x="225" y="111"/>
                    <a:pt x="221" y="26"/>
                    <a:pt x="221" y="26"/>
                  </a:cubicBezTo>
                  <a:cubicBezTo>
                    <a:pt x="153" y="26"/>
                    <a:pt x="112" y="0"/>
                    <a:pt x="112" y="0"/>
                  </a:cubicBezTo>
                  <a:cubicBezTo>
                    <a:pt x="112" y="0"/>
                    <a:pt x="71" y="26"/>
                    <a:pt x="4" y="26"/>
                  </a:cubicBezTo>
                  <a:cubicBezTo>
                    <a:pt x="4" y="26"/>
                    <a:pt x="0" y="111"/>
                    <a:pt x="22" y="160"/>
                  </a:cubicBezTo>
                  <a:cubicBezTo>
                    <a:pt x="38" y="194"/>
                    <a:pt x="67" y="222"/>
                    <a:pt x="112" y="239"/>
                  </a:cubicBezTo>
                  <a:close/>
                </a:path>
              </a:pathLst>
            </a:custGeom>
            <a:noFill/>
            <a:ln w="38100" cmpd="sng">
              <a:solidFill>
                <a:schemeClr val="bg1"/>
              </a:solidFill>
            </a:ln>
          </p:spPr>
          <p:txBody>
            <a:bodyPr vert="horz" wrap="square" lIns="101506" tIns="50752" rIns="101506" bIns="50752" numCol="1" anchor="t" anchorCtr="0" compatLnSpc="1">
              <a:prstTxWarp prst="textNoShape">
                <a:avLst/>
              </a:prstTxWarp>
            </a:bodyPr>
            <a:lstStyle/>
            <a:p>
              <a:pPr defTabSz="507523"/>
              <a:endParaRPr lang="en-US" sz="1998">
                <a:solidFill>
                  <a:prstClr val="black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endParaRPr>
            </a:p>
          </p:txBody>
        </p:sp>
        <p:cxnSp>
          <p:nvCxnSpPr>
            <p:cNvPr id="52" name="Straight Arrow Connector 141">
              <a:extLst>
                <a:ext uri="{FF2B5EF4-FFF2-40B4-BE49-F238E27FC236}">
                  <a16:creationId xmlns:a16="http://schemas.microsoft.com/office/drawing/2014/main" id="{3A1BB2BD-391E-44F6-B792-D8F7AE11D4E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484886" y="752393"/>
              <a:ext cx="206529" cy="3283578"/>
            </a:xfrm>
            <a:prstGeom prst="straightConnector1">
              <a:avLst/>
            </a:prstGeom>
            <a:ln w="28575">
              <a:noFill/>
              <a:tailEnd type="arrow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0" name="Title 3">
            <a:extLst>
              <a:ext uri="{FF2B5EF4-FFF2-40B4-BE49-F238E27FC236}">
                <a16:creationId xmlns:a16="http://schemas.microsoft.com/office/drawing/2014/main" id="{90A7AF8C-0294-419F-AC2C-7EA93BC99518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black">
          <a:xfrm>
            <a:off x="3098156" y="5365499"/>
            <a:ext cx="4460496" cy="51480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>
                <a:solidFill>
                  <a:schemeClr val="tx2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Contextual Security Intelligence</a:t>
            </a:r>
          </a:p>
        </p:txBody>
      </p:sp>
      <p:pic>
        <p:nvPicPr>
          <p:cNvPr id="141" name="Picture 5" descr="E:\My Files\Grafika\Balabit\Ábrák\CSI\icon04.png">
            <a:extLst>
              <a:ext uri="{FF2B5EF4-FFF2-40B4-BE49-F238E27FC236}">
                <a16:creationId xmlns:a16="http://schemas.microsoft.com/office/drawing/2014/main" id="{728BD30D-3A56-47BC-B473-19070D6D4F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8724338" y="5285065"/>
            <a:ext cx="502773" cy="487842"/>
          </a:xfrm>
          <a:prstGeom prst="rect">
            <a:avLst/>
          </a:prstGeom>
          <a:noFill/>
        </p:spPr>
      </p:pic>
      <p:pic>
        <p:nvPicPr>
          <p:cNvPr id="142" name="Picture 3" descr="E:\My Files\Downloads\data-analytics (1).png">
            <a:extLst>
              <a:ext uri="{FF2B5EF4-FFF2-40B4-BE49-F238E27FC236}">
                <a16:creationId xmlns:a16="http://schemas.microsoft.com/office/drawing/2014/main" id="{383517AF-44DB-4264-BBD8-CBB97B97D2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2406607" y="5412956"/>
            <a:ext cx="618324" cy="618324"/>
          </a:xfrm>
          <a:prstGeom prst="rect">
            <a:avLst/>
          </a:prstGeom>
          <a:solidFill>
            <a:schemeClr val="accent1">
              <a:alpha val="56000"/>
            </a:schemeClr>
          </a:solidFill>
          <a:ln>
            <a:solidFill>
              <a:schemeClr val="tx1"/>
            </a:solidFill>
          </a:ln>
        </p:spPr>
      </p:pic>
      <p:sp>
        <p:nvSpPr>
          <p:cNvPr id="143" name="Title 3">
            <a:extLst>
              <a:ext uri="{FF2B5EF4-FFF2-40B4-BE49-F238E27FC236}">
                <a16:creationId xmlns:a16="http://schemas.microsoft.com/office/drawing/2014/main" id="{0597D2B1-5D42-4846-ADC8-02364424DC05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black">
          <a:xfrm>
            <a:off x="7703094" y="1615783"/>
            <a:ext cx="4460496" cy="51480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User Behavior Anomaly</a:t>
            </a:r>
          </a:p>
        </p:txBody>
      </p:sp>
      <p:pic>
        <p:nvPicPr>
          <p:cNvPr id="144" name="Picture 4" descr="E:\My Files\Downloads\emergency1.png">
            <a:extLst>
              <a:ext uri="{FF2B5EF4-FFF2-40B4-BE49-F238E27FC236}">
                <a16:creationId xmlns:a16="http://schemas.microsoft.com/office/drawing/2014/main" id="{6F7AFB01-F516-468D-A718-B8F94AC5D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9311751" y="745914"/>
            <a:ext cx="402137" cy="402137"/>
          </a:xfrm>
          <a:prstGeom prst="rect">
            <a:avLst/>
          </a:prstGeom>
          <a:solidFill>
            <a:srgbClr val="008852"/>
          </a:solidFill>
        </p:spPr>
      </p:pic>
      <p:sp>
        <p:nvSpPr>
          <p:cNvPr id="145" name="Title 3">
            <a:extLst>
              <a:ext uri="{FF2B5EF4-FFF2-40B4-BE49-F238E27FC236}">
                <a16:creationId xmlns:a16="http://schemas.microsoft.com/office/drawing/2014/main" id="{24E4F0EA-4EEA-4A62-AED4-3B08E4371E97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black">
          <a:xfrm>
            <a:off x="7005353" y="992021"/>
            <a:ext cx="4296839" cy="52665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sk-SK" sz="3200" err="1">
                <a:solidFill>
                  <a:schemeClr val="tx2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Investigate</a:t>
            </a:r>
            <a:endParaRPr lang="en-US" sz="3200">
              <a:solidFill>
                <a:schemeClr val="tx2"/>
              </a:solidFill>
              <a:latin typeface="Ebrima" panose="02000000000000000000" pitchFamily="2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146" name="Title 3">
            <a:extLst>
              <a:ext uri="{FF2B5EF4-FFF2-40B4-BE49-F238E27FC236}">
                <a16:creationId xmlns:a16="http://schemas.microsoft.com/office/drawing/2014/main" id="{7FC70D7B-3193-482A-A120-4A1BF632A09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10005899" y="2927159"/>
            <a:ext cx="1762997" cy="39763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 dirty="0" smtClean="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sz="2400" b="0">
                <a:solidFill>
                  <a:schemeClr val="accent4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Workbench</a:t>
            </a:r>
          </a:p>
        </p:txBody>
      </p:sp>
    </p:spTree>
    <p:extLst>
      <p:ext uri="{BB962C8B-B14F-4D97-AF65-F5344CB8AC3E}">
        <p14:creationId xmlns:p14="http://schemas.microsoft.com/office/powerpoint/2010/main" val="3529877443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5">
            <a:extLst>
              <a:ext uri="{FF2B5EF4-FFF2-40B4-BE49-F238E27FC236}">
                <a16:creationId xmlns:a16="http://schemas.microsoft.com/office/drawing/2014/main" id="{44EFB409-E93C-4E51-946F-A45A2EBBF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sz="4900" dirty="0" err="1">
                <a:solidFill>
                  <a:schemeClr val="tx2"/>
                </a:solidFill>
              </a:rPr>
              <a:t>Kdo</a:t>
            </a:r>
            <a:r>
              <a:rPr lang="pl-PL" sz="4900" dirty="0">
                <a:solidFill>
                  <a:schemeClr val="tx2"/>
                </a:solidFill>
              </a:rPr>
              <a:t> </a:t>
            </a:r>
            <a:r>
              <a:rPr lang="pl-PL" sz="4900" dirty="0" err="1">
                <a:solidFill>
                  <a:schemeClr val="tx2"/>
                </a:solidFill>
              </a:rPr>
              <a:t>jsme</a:t>
            </a:r>
            <a:r>
              <a:rPr lang="pl-PL" sz="4900" dirty="0">
                <a:solidFill>
                  <a:schemeClr val="tx2"/>
                </a:solidFill>
              </a:rPr>
              <a:t> / </a:t>
            </a:r>
            <a:r>
              <a:rPr lang="pl-PL" sz="4900" dirty="0" err="1">
                <a:solidFill>
                  <a:schemeClr val="tx2"/>
                </a:solidFill>
              </a:rPr>
              <a:t>víme</a:t>
            </a:r>
            <a:r>
              <a:rPr lang="pl-PL" sz="4900" dirty="0">
                <a:solidFill>
                  <a:schemeClr val="tx2"/>
                </a:solidFill>
              </a:rPr>
              <a:t> jak na to</a:t>
            </a:r>
            <a:br>
              <a:rPr lang="pl-PL" sz="4900" dirty="0">
                <a:solidFill>
                  <a:schemeClr val="tx2"/>
                </a:solidFill>
              </a:rPr>
            </a:br>
            <a:r>
              <a:rPr lang="pl-PL" sz="4000" b="0" i="1" dirty="0">
                <a:solidFill>
                  <a:schemeClr val="accent4"/>
                </a:solidFill>
              </a:rPr>
              <a:t>© 2009  [2002]</a:t>
            </a:r>
            <a:endParaRPr lang="sk-SK" i="1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123455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8201" y="889848"/>
            <a:ext cx="5350727" cy="883812"/>
          </a:xfrm>
        </p:spPr>
        <p:txBody>
          <a:bodyPr/>
          <a:lstStyle/>
          <a:p>
            <a:r>
              <a:rPr lang="cs-CZ" dirty="0">
                <a:solidFill>
                  <a:schemeClr val="tx2"/>
                </a:solidFill>
                <a:latin typeface="Tw Cen MT" panose="020B0602020104020603" pitchFamily="34" charset="-18"/>
                <a:ea typeface="Impact" charset="0"/>
                <a:cs typeface="Impact" charset="0"/>
              </a:rPr>
              <a:t>Co</a:t>
            </a:r>
            <a:r>
              <a:rPr lang="cs-CZ" dirty="0">
                <a:latin typeface="Tw Cen MT" panose="020B0602020104020603" pitchFamily="34" charset="-18"/>
                <a:ea typeface="Impact" charset="0"/>
                <a:cs typeface="Impact" charset="0"/>
              </a:rPr>
              <a:t> děláme? </a:t>
            </a:r>
          </a:p>
        </p:txBody>
      </p:sp>
      <p:pic>
        <p:nvPicPr>
          <p:cNvPr id="3080" name="Picture 8" descr="Cyber security, Data protection, information safety. internet technology concept">
            <a:extLst>
              <a:ext uri="{FF2B5EF4-FFF2-40B4-BE49-F238E27FC236}">
                <a16:creationId xmlns:a16="http://schemas.microsoft.com/office/drawing/2014/main" id="{3320CD71-7464-F9AC-CBB4-127562BFF1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8120" y="2243295"/>
            <a:ext cx="2893142" cy="1928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IOT. Internet of things. Automation and modern technology concept">
            <a:extLst>
              <a:ext uri="{FF2B5EF4-FFF2-40B4-BE49-F238E27FC236}">
                <a16:creationId xmlns:a16="http://schemas.microsoft.com/office/drawing/2014/main" id="{ECBC9766-0D3A-5468-6B82-0E3427FAA7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851" y="2243295"/>
            <a:ext cx="2893143" cy="1928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564A7F35-D651-3621-0925-C3002F8797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08709" y="2235200"/>
            <a:ext cx="4377826" cy="1936857"/>
          </a:xfrm>
          <a:prstGeom prst="rect">
            <a:avLst/>
          </a:prstGeom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7AC8AAD7-2F2A-D8E7-2ABB-F6340ED6DD97}"/>
              </a:ext>
            </a:extLst>
          </p:cNvPr>
          <p:cNvSpPr txBox="1"/>
          <p:nvPr/>
        </p:nvSpPr>
        <p:spPr>
          <a:xfrm>
            <a:off x="773248" y="4287010"/>
            <a:ext cx="244034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Služby a procesy </a:t>
            </a:r>
          </a:p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v rámci IB a KB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528E441A-65F7-BF33-3CCE-176AED9DD2DD}"/>
              </a:ext>
            </a:extLst>
          </p:cNvPr>
          <p:cNvSpPr txBox="1"/>
          <p:nvPr/>
        </p:nvSpPr>
        <p:spPr>
          <a:xfrm>
            <a:off x="8701265" y="4287011"/>
            <a:ext cx="339208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Technologie pro </a:t>
            </a:r>
            <a:b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</a:br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monitoring </a:t>
            </a:r>
          </a:p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kybernetické bezpečnosti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451152F9-360E-AE51-3D36-6C13F9B4019A}"/>
              </a:ext>
            </a:extLst>
          </p:cNvPr>
          <p:cNvSpPr txBox="1"/>
          <p:nvPr/>
        </p:nvSpPr>
        <p:spPr>
          <a:xfrm>
            <a:off x="3881709" y="4287010"/>
            <a:ext cx="480317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Služby </a:t>
            </a:r>
          </a:p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bezpečnostního dohledového centra</a:t>
            </a:r>
          </a:p>
          <a:p>
            <a:pPr algn="ctr"/>
            <a:r>
              <a:rPr lang="cs-CZ" sz="2400" b="1" dirty="0">
                <a:solidFill>
                  <a:schemeClr val="tx2"/>
                </a:solidFill>
                <a:latin typeface="Tw Cen MT" panose="020B0602020104020603" pitchFamily="34" charset="-18"/>
              </a:rPr>
              <a:t>(SOC)</a:t>
            </a:r>
          </a:p>
        </p:txBody>
      </p:sp>
    </p:spTree>
    <p:extLst>
      <p:ext uri="{BB962C8B-B14F-4D97-AF65-F5344CB8AC3E}">
        <p14:creationId xmlns:p14="http://schemas.microsoft.com/office/powerpoint/2010/main" val="2024701915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adpis 1">
            <a:extLst>
              <a:ext uri="{FF2B5EF4-FFF2-40B4-BE49-F238E27FC236}">
                <a16:creationId xmlns:a16="http://schemas.microsoft.com/office/drawing/2014/main" id="{3D66D22D-5C49-B710-3E54-AEF866ED2478}"/>
              </a:ext>
            </a:extLst>
          </p:cNvPr>
          <p:cNvSpPr>
            <a:spLocks noGrp="1"/>
          </p:cNvSpPr>
          <p:nvPr/>
        </p:nvSpPr>
        <p:spPr>
          <a:xfrm>
            <a:off x="897197" y="1312973"/>
            <a:ext cx="8350306" cy="8838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37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1pPr>
          </a:lstStyle>
          <a:p>
            <a:r>
              <a:rPr lang="cs-CZ" dirty="0"/>
              <a:t>Zákazník </a:t>
            </a:r>
            <a:r>
              <a:rPr lang="cs-CZ" dirty="0">
                <a:solidFill>
                  <a:schemeClr val="tx2"/>
                </a:solidFill>
              </a:rPr>
              <a:t>*****</a:t>
            </a:r>
          </a:p>
        </p:txBody>
      </p:sp>
      <p:sp>
        <p:nvSpPr>
          <p:cNvPr id="9" name="Zástupný obsah 2">
            <a:extLst>
              <a:ext uri="{FF2B5EF4-FFF2-40B4-BE49-F238E27FC236}">
                <a16:creationId xmlns:a16="http://schemas.microsoft.com/office/drawing/2014/main" id="{E5CDC7CF-3748-1A6E-5429-FB0205826378}"/>
              </a:ext>
            </a:extLst>
          </p:cNvPr>
          <p:cNvSpPr>
            <a:spLocks noGrp="1"/>
          </p:cNvSpPr>
          <p:nvPr/>
        </p:nvSpPr>
        <p:spPr>
          <a:xfrm>
            <a:off x="578539" y="2333297"/>
            <a:ext cx="8134537" cy="4110630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0" indent="0" algn="l" defTabSz="914372" rtl="0" eaLnBrk="1" latinLnBrk="0" hangingPunct="1">
              <a:lnSpc>
                <a:spcPct val="90000"/>
              </a:lnSpc>
              <a:spcBef>
                <a:spcPts val="1001"/>
              </a:spcBef>
              <a:buFontTx/>
              <a:buNone/>
              <a:defRPr sz="3200" b="1" kern="1200">
                <a:solidFill>
                  <a:schemeClr val="tx2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186" indent="0" algn="l" defTabSz="9143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2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2pPr>
            <a:lvl3pPr marL="1142967" indent="-228593" algn="l" defTabSz="9143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D2A050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3pPr>
            <a:lvl4pPr marL="1600153" indent="-228593" algn="l" defTabSz="9143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2">
                    <a:lumMod val="50000"/>
                  </a:scheme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4pPr>
            <a:lvl5pPr marL="2057339" indent="-228593" algn="l" defTabSz="9143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2">
                    <a:lumMod val="75000"/>
                  </a:scheme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defRPr>
            </a:lvl5pPr>
            <a:lvl6pPr marL="2514526" indent="-228593" algn="l" defTabSz="9143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14" indent="-228593" algn="l" defTabSz="9143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00" indent="-228593" algn="l" defTabSz="9143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86" indent="-228593" algn="l" defTabSz="914372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cs-CZ" b="0" i="0" dirty="0">
                <a:solidFill>
                  <a:srgbClr val="333333"/>
                </a:solidFill>
                <a:effectLst/>
                <a:latin typeface="Tw Cen MT" panose="020B0602020104020603" pitchFamily="34" charset="-18"/>
              </a:rPr>
              <a:t>Společnost *** je známým průmyslovým podnikem, který se zabývá zpracováním kovových komponent v ucelené systémy ochrany. </a:t>
            </a:r>
          </a:p>
          <a:p>
            <a:pPr algn="just"/>
            <a:r>
              <a:rPr lang="cs-CZ" b="0" i="0" dirty="0">
                <a:solidFill>
                  <a:srgbClr val="333333"/>
                </a:solidFill>
                <a:effectLst/>
                <a:latin typeface="Tw Cen MT" panose="020B0602020104020603" pitchFamily="34" charset="-18"/>
              </a:rPr>
              <a:t>Aktuálně uzavřela významný kontrakt na dodávku specializovaných dílů do bojových prostředků a její zákazník požadoval zvýšení ochrany a schopností detekce kybernetických útoků. </a:t>
            </a:r>
          </a:p>
          <a:p>
            <a:pPr algn="just"/>
            <a:r>
              <a:rPr lang="cs-CZ" b="0" i="0" dirty="0">
                <a:solidFill>
                  <a:srgbClr val="333333"/>
                </a:solidFill>
                <a:effectLst/>
                <a:latin typeface="Tw Cen MT" panose="020B0602020104020603" pitchFamily="34" charset="-18"/>
              </a:rPr>
              <a:t>V oblasti zabezpečení kybernetické bezpečnosti neměla tato strojírenská společnost dostatečné zkušenosti a proto na trhu poptala komplexní zajištění. </a:t>
            </a:r>
          </a:p>
          <a:p>
            <a:pPr algn="just"/>
            <a:r>
              <a:rPr lang="cs-CZ" b="0" i="0" dirty="0">
                <a:solidFill>
                  <a:srgbClr val="333333"/>
                </a:solidFill>
                <a:effectLst/>
                <a:latin typeface="Tw Cen MT" panose="020B0602020104020603" pitchFamily="34" charset="-18"/>
              </a:rPr>
              <a:t>V rámci výběrového řízení si jako partnera vybrala naši společnost. </a:t>
            </a:r>
          </a:p>
          <a:p>
            <a:endParaRPr lang="cs-CZ" dirty="0"/>
          </a:p>
        </p:txBody>
      </p:sp>
      <p:pic>
        <p:nvPicPr>
          <p:cNvPr id="1026" name="Picture 2" descr="Obrázek, klipart Továrna v rozlišení 435x500 px zdarma ke stažení">
            <a:extLst>
              <a:ext uri="{FF2B5EF4-FFF2-40B4-BE49-F238E27FC236}">
                <a16:creationId xmlns:a16="http://schemas.microsoft.com/office/drawing/2014/main" id="{4A129D6B-7F18-5443-1A8C-ACE05EC747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3903" y="2420127"/>
            <a:ext cx="2296551" cy="2648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5200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E02C4AA7-654D-4620-9F16-1EAF36A90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989592"/>
            <a:ext cx="9434514" cy="883812"/>
          </a:xfrm>
        </p:spPr>
        <p:txBody>
          <a:bodyPr>
            <a:normAutofit/>
          </a:bodyPr>
          <a:lstStyle/>
          <a:p>
            <a:r>
              <a:rPr lang="cs-CZ" dirty="0">
                <a:solidFill>
                  <a:srgbClr val="FF0000"/>
                </a:solidFill>
              </a:rPr>
              <a:t>T</a:t>
            </a:r>
            <a:r>
              <a:rPr lang="cs-CZ" dirty="0">
                <a:solidFill>
                  <a:schemeClr val="tx2"/>
                </a:solidFill>
              </a:rPr>
              <a:t>echnologická </a:t>
            </a:r>
            <a:r>
              <a:rPr lang="cs-CZ" dirty="0">
                <a:solidFill>
                  <a:srgbClr val="FF0000"/>
                </a:solidFill>
              </a:rPr>
              <a:t>S</a:t>
            </a:r>
            <a:r>
              <a:rPr lang="cs-CZ" dirty="0">
                <a:solidFill>
                  <a:schemeClr val="tx2"/>
                </a:solidFill>
              </a:rPr>
              <a:t>polupráce</a:t>
            </a:r>
          </a:p>
        </p:txBody>
      </p:sp>
      <p:sp>
        <p:nvSpPr>
          <p:cNvPr id="2" name="Zástupný symbol pro obsah 1">
            <a:extLst>
              <a:ext uri="{FF2B5EF4-FFF2-40B4-BE49-F238E27FC236}">
                <a16:creationId xmlns:a16="http://schemas.microsoft.com/office/drawing/2014/main" id="{95EA71C7-B8AC-499D-B5DA-C8205CBB61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2450" y="1954227"/>
            <a:ext cx="11601451" cy="4205504"/>
          </a:xfrm>
        </p:spPr>
        <p:txBody>
          <a:bodyPr>
            <a:noAutofit/>
          </a:bodyPr>
          <a:lstStyle/>
          <a:p>
            <a:r>
              <a:rPr lang="cs-CZ" b="0" dirty="0">
                <a:solidFill>
                  <a:schemeClr val="bg2">
                    <a:lumMod val="25000"/>
                  </a:schemeClr>
                </a:solidFill>
              </a:rPr>
              <a:t>Sdružení českých a slovenských firem a expertů zabývajících se </a:t>
            </a:r>
            <a:r>
              <a:rPr lang="cs-CZ" b="1" dirty="0" err="1">
                <a:solidFill>
                  <a:schemeClr val="bg2">
                    <a:lumMod val="25000"/>
                  </a:schemeClr>
                </a:solidFill>
              </a:rPr>
              <a:t>kyber</a:t>
            </a:r>
            <a:r>
              <a:rPr lang="cs-CZ" b="1" dirty="0">
                <a:solidFill>
                  <a:schemeClr val="bg2">
                    <a:lumMod val="25000"/>
                  </a:schemeClr>
                </a:solidFill>
              </a:rPr>
              <a:t>. bezpečností</a:t>
            </a:r>
          </a:p>
          <a:p>
            <a:r>
              <a:rPr lang="cs-CZ" b="1" dirty="0">
                <a:solidFill>
                  <a:schemeClr val="bg2">
                    <a:lumMod val="25000"/>
                  </a:schemeClr>
                </a:solidFill>
              </a:rPr>
              <a:t> </a:t>
            </a:r>
          </a:p>
          <a:p>
            <a:endParaRPr lang="cs-CZ" b="1" dirty="0">
              <a:solidFill>
                <a:schemeClr val="bg2">
                  <a:lumMod val="25000"/>
                </a:schemeClr>
              </a:solidFill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030A74D6-55F6-4054-A0F1-24F82D91FF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450" y="3419565"/>
            <a:ext cx="2120336" cy="761201"/>
          </a:xfrm>
          <a:prstGeom prst="rect">
            <a:avLst/>
          </a:prstGeom>
        </p:spPr>
      </p:pic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8DC9347C-F6B8-417F-BD3E-575F5619A59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16777" y="2662439"/>
            <a:ext cx="1986577" cy="1986577"/>
          </a:xfrm>
          <a:prstGeom prst="rect">
            <a:avLst/>
          </a:prstGeom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A96ADDD6-7C81-40AA-A6DD-990FF58F03A2}"/>
              </a:ext>
            </a:extLst>
          </p:cNvPr>
          <p:cNvSpPr/>
          <p:nvPr/>
        </p:nvSpPr>
        <p:spPr>
          <a:xfrm>
            <a:off x="8872363" y="3571881"/>
            <a:ext cx="6096000" cy="16784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372">
              <a:lnSpc>
                <a:spcPct val="90000"/>
              </a:lnSpc>
              <a:spcBef>
                <a:spcPts val="1001"/>
              </a:spcBef>
            </a:pPr>
            <a:endParaRPr lang="cs-CZ" sz="3200" b="1" dirty="0">
              <a:solidFill>
                <a:srgbClr val="EAEFF2">
                  <a:lumMod val="25000"/>
                </a:srgbClr>
              </a:solidFill>
              <a:latin typeface="Tw Cen MT" panose="020B0602020104020603" pitchFamily="34" charset="0"/>
              <a:ea typeface="Ebrima" panose="02000000000000000000" pitchFamily="2" charset="0"/>
              <a:cs typeface="Ebrima" panose="02000000000000000000" pitchFamily="2" charset="0"/>
            </a:endParaRPr>
          </a:p>
          <a:p>
            <a:pPr lvl="0" defTabSz="914372">
              <a:lnSpc>
                <a:spcPct val="90000"/>
              </a:lnSpc>
              <a:spcBef>
                <a:spcPts val="1001"/>
              </a:spcBef>
            </a:pPr>
            <a:r>
              <a:rPr lang="cs-CZ" sz="3200" b="1" dirty="0">
                <a:solidFill>
                  <a:srgbClr val="EAEFF2">
                    <a:lumMod val="25000"/>
                  </a:srgb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Založeno </a:t>
            </a:r>
            <a:r>
              <a:rPr lang="cs-CZ" sz="3200" b="1" dirty="0">
                <a:solidFill>
                  <a:srgbClr val="FF0000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2018</a:t>
            </a:r>
          </a:p>
          <a:p>
            <a:pPr lvl="0" defTabSz="914372">
              <a:lnSpc>
                <a:spcPct val="90000"/>
              </a:lnSpc>
              <a:spcBef>
                <a:spcPts val="1001"/>
              </a:spcBef>
            </a:pPr>
            <a:r>
              <a:rPr lang="cs-CZ" sz="3200" b="1" dirty="0">
                <a:solidFill>
                  <a:srgbClr val="FF0000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15 </a:t>
            </a:r>
            <a:r>
              <a:rPr lang="cs-CZ" sz="3200" b="1" dirty="0">
                <a:solidFill>
                  <a:srgbClr val="3F3F3F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členů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0D7D75C-EAD2-4ADF-B168-D95A29D3CF9B}"/>
              </a:ext>
            </a:extLst>
          </p:cNvPr>
          <p:cNvSpPr txBox="1"/>
          <p:nvPr/>
        </p:nvSpPr>
        <p:spPr>
          <a:xfrm>
            <a:off x="2634652" y="5543487"/>
            <a:ext cx="3868311" cy="7104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33413" lvl="2" defTabSz="914372">
              <a:lnSpc>
                <a:spcPct val="90000"/>
              </a:lnSpc>
              <a:spcBef>
                <a:spcPts val="500"/>
              </a:spcBef>
            </a:pPr>
            <a:r>
              <a:rPr lang="cs-CZ" sz="2000" i="1" dirty="0">
                <a:solidFill>
                  <a:srgbClr val="EAEFF2">
                    <a:lumMod val="25000"/>
                  </a:srgb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Systémoví integrátoři</a:t>
            </a:r>
          </a:p>
          <a:p>
            <a:pPr marL="833413" lvl="2" defTabSz="914372">
              <a:lnSpc>
                <a:spcPct val="90000"/>
              </a:lnSpc>
              <a:spcBef>
                <a:spcPts val="500"/>
              </a:spcBef>
            </a:pPr>
            <a:r>
              <a:rPr lang="cs-CZ" sz="2000" i="1" dirty="0">
                <a:solidFill>
                  <a:srgbClr val="EAEFF2">
                    <a:lumMod val="25000"/>
                  </a:srgb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Konzultační specialisté</a:t>
            </a:r>
            <a:endParaRPr lang="cs-CZ" sz="2000" dirty="0">
              <a:solidFill>
                <a:srgbClr val="EAEFF2">
                  <a:lumMod val="25000"/>
                </a:srgbClr>
              </a:solidFill>
              <a:latin typeface="Tw Cen MT" panose="020B0602020104020603" pitchFamily="34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3989616E-BC11-41CB-A9DD-4BF492C515DE}"/>
              </a:ext>
            </a:extLst>
          </p:cNvPr>
          <p:cNvSpPr/>
          <p:nvPr/>
        </p:nvSpPr>
        <p:spPr>
          <a:xfrm>
            <a:off x="493458" y="4261589"/>
            <a:ext cx="6096000" cy="1106970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defTabSz="914372">
              <a:lnSpc>
                <a:spcPct val="90000"/>
              </a:lnSpc>
              <a:spcBef>
                <a:spcPts val="1001"/>
              </a:spcBef>
            </a:pPr>
            <a:r>
              <a:rPr lang="cs-CZ" sz="3200" b="1" dirty="0">
                <a:solidFill>
                  <a:srgbClr val="EAEFF2">
                    <a:lumMod val="25000"/>
                  </a:srgb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Založeno </a:t>
            </a:r>
            <a:r>
              <a:rPr lang="cs-CZ" sz="3200" b="1" dirty="0">
                <a:solidFill>
                  <a:srgbClr val="FF0000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2010</a:t>
            </a:r>
          </a:p>
          <a:p>
            <a:pPr lvl="0" defTabSz="914372">
              <a:lnSpc>
                <a:spcPct val="90000"/>
              </a:lnSpc>
              <a:spcBef>
                <a:spcPts val="1001"/>
              </a:spcBef>
            </a:pPr>
            <a:r>
              <a:rPr lang="cs-CZ" sz="3200" b="1" dirty="0">
                <a:solidFill>
                  <a:srgbClr val="FF0000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20 </a:t>
            </a:r>
            <a:r>
              <a:rPr lang="cs-CZ" sz="3200" b="1" dirty="0">
                <a:solidFill>
                  <a:srgbClr val="3F3F3F"/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členů</a:t>
            </a:r>
          </a:p>
        </p:txBody>
      </p:sp>
      <p:pic>
        <p:nvPicPr>
          <p:cNvPr id="9" name="Obrázek 8" descr="Obsah obrázku text&#10;&#10;Popis byl vytvořen automaticky">
            <a:extLst>
              <a:ext uri="{FF2B5EF4-FFF2-40B4-BE49-F238E27FC236}">
                <a16:creationId xmlns:a16="http://schemas.microsoft.com/office/drawing/2014/main" id="{EFF901B0-3BB8-4FD7-9240-90525657A6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6721" y="3354408"/>
            <a:ext cx="2344171" cy="1106970"/>
          </a:xfrm>
          <a:prstGeom prst="rect">
            <a:avLst/>
          </a:prstGeom>
        </p:spPr>
      </p:pic>
      <p:pic>
        <p:nvPicPr>
          <p:cNvPr id="2050" name="Picture 2" descr="TeskaLabs · Cyber security · Data Privacy">
            <a:extLst>
              <a:ext uri="{FF2B5EF4-FFF2-40B4-BE49-F238E27FC236}">
                <a16:creationId xmlns:a16="http://schemas.microsoft.com/office/drawing/2014/main" id="{E7A93060-0AD4-2ABF-95C2-C5E2F0CEF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4422" y="2697673"/>
            <a:ext cx="1653279" cy="13292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Masarykova univerzita mění logo. Dodá ho Studio Najbrt | Události ...">
            <a:extLst>
              <a:ext uri="{FF2B5EF4-FFF2-40B4-BE49-F238E27FC236}">
                <a16:creationId xmlns:a16="http://schemas.microsoft.com/office/drawing/2014/main" id="{1D10BD51-2887-5A3D-BF37-C66D499D2D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797" y="4406502"/>
            <a:ext cx="2406611" cy="1203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Řešení pro ochranu dat před ztrátou a vnitřními hrozbami">
            <a:extLst>
              <a:ext uri="{FF2B5EF4-FFF2-40B4-BE49-F238E27FC236}">
                <a16:creationId xmlns:a16="http://schemas.microsoft.com/office/drawing/2014/main" id="{3D05C0F7-B00C-6A5D-4C3C-9B46B94526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4029" y="4300033"/>
            <a:ext cx="2406611" cy="547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6D9BAE84-9F4F-01C5-25B5-FEE58FEBDF3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37346" y="4905665"/>
            <a:ext cx="2111925" cy="1203306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48545DD3-F918-518F-20BB-A1C230A8192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976167" y="2568232"/>
            <a:ext cx="2698539" cy="509725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7AC0A329-5133-7CCB-C6B6-5358600EA2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3052" y="2613996"/>
            <a:ext cx="3349263" cy="637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13143392"/>
      </p:ext>
    </p:extLst>
  </p:cSld>
  <p:clrMapOvr>
    <a:masterClrMapping/>
  </p:clrMapOvr>
  <p:transition spd="slow">
    <p:push dir="u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3A9E5699-1CD0-4BB7-83DB-12D10B0F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43348" y="4966933"/>
            <a:ext cx="486708" cy="464416"/>
          </a:xfrm>
          <a:prstGeom prst="rect">
            <a:avLst/>
          </a:prstGeom>
        </p:spPr>
      </p:pic>
      <p:sp>
        <p:nvSpPr>
          <p:cNvPr id="3" name="Nadpis 2">
            <a:extLst>
              <a:ext uri="{FF2B5EF4-FFF2-40B4-BE49-F238E27FC236}">
                <a16:creationId xmlns:a16="http://schemas.microsoft.com/office/drawing/2014/main" id="{F921E2E8-81E4-4022-A7A4-BDAC2C1928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723592"/>
            <a:ext cx="5350727" cy="883812"/>
          </a:xfrm>
        </p:spPr>
        <p:txBody>
          <a:bodyPr/>
          <a:lstStyle/>
          <a:p>
            <a:r>
              <a:rPr lang="cs-CZ"/>
              <a:t>Reference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D60DDBFE-C6B3-485B-8D94-4F4027569E04}"/>
              </a:ext>
            </a:extLst>
          </p:cNvPr>
          <p:cNvSpPr/>
          <p:nvPr/>
        </p:nvSpPr>
        <p:spPr>
          <a:xfrm>
            <a:off x="621801" y="1774468"/>
            <a:ext cx="3354901" cy="413939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1">
              <a:latin typeface="Tw Cen MT" panose="020B0602020104020603" pitchFamily="34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963E0AC3-2541-48D8-9850-1A99DB7DB0E3}"/>
              </a:ext>
            </a:extLst>
          </p:cNvPr>
          <p:cNvSpPr/>
          <p:nvPr/>
        </p:nvSpPr>
        <p:spPr>
          <a:xfrm>
            <a:off x="8046215" y="1778144"/>
            <a:ext cx="3354901" cy="4139397"/>
          </a:xfrm>
          <a:prstGeom prst="rect">
            <a:avLst/>
          </a:prstGeom>
          <a:noFill/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1">
              <a:latin typeface="Tw Cen MT" panose="020B0602020104020603" pitchFamily="34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F45AF07-1A2A-49D9-85ED-3123519D3C09}"/>
              </a:ext>
            </a:extLst>
          </p:cNvPr>
          <p:cNvSpPr txBox="1"/>
          <p:nvPr/>
        </p:nvSpPr>
        <p:spPr>
          <a:xfrm>
            <a:off x="635826" y="1411757"/>
            <a:ext cx="33354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Finance</a:t>
            </a:r>
            <a:endParaRPr lang="cs-CZ" sz="1801" b="1">
              <a:solidFill>
                <a:schemeClr val="bg2">
                  <a:lumMod val="25000"/>
                </a:schemeClr>
              </a:solidFill>
              <a:latin typeface="Tw Cen MT" panose="020B0602020104020603" pitchFamily="34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63C2C832-90E4-4268-AC72-71B5BAA57A93}"/>
              </a:ext>
            </a:extLst>
          </p:cNvPr>
          <p:cNvSpPr txBox="1"/>
          <p:nvPr/>
        </p:nvSpPr>
        <p:spPr>
          <a:xfrm>
            <a:off x="4330686" y="1426936"/>
            <a:ext cx="33549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Utility</a:t>
            </a:r>
            <a:endParaRPr lang="cs-CZ" sz="1801" b="1">
              <a:solidFill>
                <a:schemeClr val="bg2">
                  <a:lumMod val="25000"/>
                </a:schemeClr>
              </a:solidFill>
              <a:latin typeface="Tw Cen MT" panose="020B0602020104020603" pitchFamily="34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CE7B36B4-081A-4AA5-8995-4F370EF8C7C6}"/>
              </a:ext>
            </a:extLst>
          </p:cNvPr>
          <p:cNvSpPr txBox="1"/>
          <p:nvPr/>
        </p:nvSpPr>
        <p:spPr>
          <a:xfrm>
            <a:off x="8076963" y="1434274"/>
            <a:ext cx="30106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b="1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Public</a:t>
            </a:r>
            <a:r>
              <a:rPr lang="cs-CZ" sz="1801" b="1">
                <a:solidFill>
                  <a:schemeClr val="bg2">
                    <a:lumMod val="25000"/>
                  </a:schemeClr>
                </a:solidFill>
                <a:latin typeface="Tw Cen MT" panose="020B0602020104020603" pitchFamily="34" charset="0"/>
                <a:ea typeface="Ebrima" panose="02000000000000000000" pitchFamily="2" charset="0"/>
                <a:cs typeface="Ebrima" panose="02000000000000000000" pitchFamily="2" charset="0"/>
              </a:rPr>
              <a:t> + ostatní</a:t>
            </a:r>
          </a:p>
        </p:txBody>
      </p:sp>
      <p:pic>
        <p:nvPicPr>
          <p:cNvPr id="47" name="Picture 6">
            <a:extLst>
              <a:ext uri="{FF2B5EF4-FFF2-40B4-BE49-F238E27FC236}">
                <a16:creationId xmlns:a16="http://schemas.microsoft.com/office/drawing/2014/main" id="{2DA2B6F2-F917-4F71-93AF-D61B2EDAC4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375186" y="5199141"/>
            <a:ext cx="1433504" cy="521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22">
            <a:extLst>
              <a:ext uri="{FF2B5EF4-FFF2-40B4-BE49-F238E27FC236}">
                <a16:creationId xmlns:a16="http://schemas.microsoft.com/office/drawing/2014/main" id="{238EC86D-AA98-49F4-AE31-4DD11781D5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84974" y="4008838"/>
            <a:ext cx="1355509" cy="308313"/>
          </a:xfrm>
          <a:prstGeom prst="rect">
            <a:avLst/>
          </a:prstGeom>
        </p:spPr>
      </p:pic>
      <p:pic>
        <p:nvPicPr>
          <p:cNvPr id="52" name="Picture 27">
            <a:extLst>
              <a:ext uri="{FF2B5EF4-FFF2-40B4-BE49-F238E27FC236}">
                <a16:creationId xmlns:a16="http://schemas.microsoft.com/office/drawing/2014/main" id="{249CF57A-9DE1-4FD0-8597-3A24550B161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95900" y="4876594"/>
            <a:ext cx="2045652" cy="216838"/>
          </a:xfrm>
          <a:prstGeom prst="rect">
            <a:avLst/>
          </a:prstGeom>
        </p:spPr>
      </p:pic>
      <p:pic>
        <p:nvPicPr>
          <p:cNvPr id="53" name="Picture 25">
            <a:extLst>
              <a:ext uri="{FF2B5EF4-FFF2-40B4-BE49-F238E27FC236}">
                <a16:creationId xmlns:a16="http://schemas.microsoft.com/office/drawing/2014/main" id="{4E35D07C-B667-4F8E-B670-3AA181C7A3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0717" y="3963074"/>
            <a:ext cx="1574713" cy="360498"/>
          </a:xfrm>
          <a:prstGeom prst="rect">
            <a:avLst/>
          </a:prstGeom>
        </p:spPr>
      </p:pic>
      <p:pic>
        <p:nvPicPr>
          <p:cNvPr id="54" name="Picture 28">
            <a:extLst>
              <a:ext uri="{FF2B5EF4-FFF2-40B4-BE49-F238E27FC236}">
                <a16:creationId xmlns:a16="http://schemas.microsoft.com/office/drawing/2014/main" id="{52C30A46-484C-4E8A-A4C4-9F664CDBBFA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9969" y="1819548"/>
            <a:ext cx="1409343" cy="368993"/>
          </a:xfrm>
          <a:prstGeom prst="rect">
            <a:avLst/>
          </a:prstGeom>
        </p:spPr>
      </p:pic>
      <p:pic>
        <p:nvPicPr>
          <p:cNvPr id="55" name="Picture 7">
            <a:extLst>
              <a:ext uri="{FF2B5EF4-FFF2-40B4-BE49-F238E27FC236}">
                <a16:creationId xmlns:a16="http://schemas.microsoft.com/office/drawing/2014/main" id="{2EC26FC3-C82F-4406-A0A5-97CC7C8B33C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418" y="2617349"/>
            <a:ext cx="1527858" cy="447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Obrázek 56">
            <a:extLst>
              <a:ext uri="{FF2B5EF4-FFF2-40B4-BE49-F238E27FC236}">
                <a16:creationId xmlns:a16="http://schemas.microsoft.com/office/drawing/2014/main" id="{234E0BA8-AB32-4D9A-A71F-7201B392849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590" y="4343739"/>
            <a:ext cx="2045652" cy="316932"/>
          </a:xfrm>
          <a:prstGeom prst="rect">
            <a:avLst/>
          </a:prstGeom>
        </p:spPr>
      </p:pic>
      <p:pic>
        <p:nvPicPr>
          <p:cNvPr id="58" name="Picture 2" descr="Výsledek obrázku pro t-mobile">
            <a:extLst>
              <a:ext uri="{FF2B5EF4-FFF2-40B4-BE49-F238E27FC236}">
                <a16:creationId xmlns:a16="http://schemas.microsoft.com/office/drawing/2014/main" id="{7CB0703D-ED81-406D-A848-CA24E3B235B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37" b="28438"/>
          <a:stretch/>
        </p:blipFill>
        <p:spPr bwMode="auto">
          <a:xfrm>
            <a:off x="4592594" y="1848368"/>
            <a:ext cx="1374171" cy="318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10">
            <a:extLst>
              <a:ext uri="{FF2B5EF4-FFF2-40B4-BE49-F238E27FC236}">
                <a16:creationId xmlns:a16="http://schemas.microsoft.com/office/drawing/2014/main" id="{561508E1-2397-4671-A70B-BA3F1C446C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4477335" y="3420003"/>
            <a:ext cx="588444" cy="571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" name="Picture 2" descr="http://conference.itsmf.cz/assets/img/partners/o2itservices.png">
            <a:extLst>
              <a:ext uri="{FF2B5EF4-FFF2-40B4-BE49-F238E27FC236}">
                <a16:creationId xmlns:a16="http://schemas.microsoft.com/office/drawing/2014/main" id="{4EA28537-FDC0-4670-A9DB-90AF599D87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19" b="12472"/>
          <a:stretch/>
        </p:blipFill>
        <p:spPr bwMode="auto">
          <a:xfrm>
            <a:off x="6113451" y="3185548"/>
            <a:ext cx="1400615" cy="357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13">
            <a:extLst>
              <a:ext uri="{FF2B5EF4-FFF2-40B4-BE49-F238E27FC236}">
                <a16:creationId xmlns:a16="http://schemas.microsoft.com/office/drawing/2014/main" id="{F57DE63A-ED89-43E6-AC5C-3E196F59082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939563" y="1867245"/>
            <a:ext cx="652350" cy="653840"/>
          </a:xfrm>
          <a:prstGeom prst="rect">
            <a:avLst/>
          </a:prstGeom>
        </p:spPr>
      </p:pic>
      <p:pic>
        <p:nvPicPr>
          <p:cNvPr id="62" name="Picture 8">
            <a:extLst>
              <a:ext uri="{FF2B5EF4-FFF2-40B4-BE49-F238E27FC236}">
                <a16:creationId xmlns:a16="http://schemas.microsoft.com/office/drawing/2014/main" id="{7E34EDAB-02FE-4A74-91B4-EB0936B856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/>
          <a:srcRect l="21824" r="22608"/>
          <a:stretch/>
        </p:blipFill>
        <p:spPr bwMode="auto">
          <a:xfrm>
            <a:off x="6912470" y="4279116"/>
            <a:ext cx="591135" cy="711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" name="Picture 12">
            <a:extLst>
              <a:ext uri="{FF2B5EF4-FFF2-40B4-BE49-F238E27FC236}">
                <a16:creationId xmlns:a16="http://schemas.microsoft.com/office/drawing/2014/main" id="{7539E57E-E53B-4BFD-AD44-94C4B6133120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9083" t="14846" r="9896" b="13652"/>
          <a:stretch/>
        </p:blipFill>
        <p:spPr>
          <a:xfrm>
            <a:off x="6470384" y="5093432"/>
            <a:ext cx="1014594" cy="405773"/>
          </a:xfrm>
          <a:prstGeom prst="rect">
            <a:avLst/>
          </a:prstGeom>
        </p:spPr>
      </p:pic>
      <p:pic>
        <p:nvPicPr>
          <p:cNvPr id="67" name="Obrázek 66">
            <a:extLst>
              <a:ext uri="{FF2B5EF4-FFF2-40B4-BE49-F238E27FC236}">
                <a16:creationId xmlns:a16="http://schemas.microsoft.com/office/drawing/2014/main" id="{6D98B6D1-E202-4F91-8CB2-37827BE4B938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739" b="20233"/>
          <a:stretch/>
        </p:blipFill>
        <p:spPr>
          <a:xfrm>
            <a:off x="4532992" y="4108183"/>
            <a:ext cx="1515330" cy="268115"/>
          </a:xfrm>
          <a:prstGeom prst="rect">
            <a:avLst/>
          </a:prstGeom>
        </p:spPr>
      </p:pic>
      <p:pic>
        <p:nvPicPr>
          <p:cNvPr id="68" name="Obrázek 67">
            <a:extLst>
              <a:ext uri="{FF2B5EF4-FFF2-40B4-BE49-F238E27FC236}">
                <a16:creationId xmlns:a16="http://schemas.microsoft.com/office/drawing/2014/main" id="{B9AE6535-79BD-4813-9346-BB59008E2EE7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08" t="20621" r="9392" b="20314"/>
          <a:stretch/>
        </p:blipFill>
        <p:spPr>
          <a:xfrm>
            <a:off x="4328121" y="2187847"/>
            <a:ext cx="1450738" cy="421076"/>
          </a:xfrm>
          <a:prstGeom prst="rect">
            <a:avLst/>
          </a:prstGeom>
        </p:spPr>
      </p:pic>
      <p:pic>
        <p:nvPicPr>
          <p:cNvPr id="71" name="Picture 26">
            <a:extLst>
              <a:ext uri="{FF2B5EF4-FFF2-40B4-BE49-F238E27FC236}">
                <a16:creationId xmlns:a16="http://schemas.microsoft.com/office/drawing/2014/main" id="{22C2E14A-C95F-4282-B70C-0A7EE41B0029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182392" y="3968389"/>
            <a:ext cx="1197519" cy="298048"/>
          </a:xfrm>
          <a:prstGeom prst="rect">
            <a:avLst/>
          </a:prstGeom>
        </p:spPr>
      </p:pic>
      <p:pic>
        <p:nvPicPr>
          <p:cNvPr id="72" name="Picture 1024">
            <a:extLst>
              <a:ext uri="{FF2B5EF4-FFF2-40B4-BE49-F238E27FC236}">
                <a16:creationId xmlns:a16="http://schemas.microsoft.com/office/drawing/2014/main" id="{3CD44EFD-E2CA-4899-A706-AAA9C9BAF210}"/>
              </a:ext>
            </a:extLst>
          </p:cNvPr>
          <p:cNvPicPr>
            <a:picLocks noChangeAspect="1"/>
          </p:cNvPicPr>
          <p:nvPr/>
        </p:nvPicPr>
        <p:blipFill rotWithShape="1">
          <a:blip r:embed="rId20"/>
          <a:srcRect l="13752" r="18981"/>
          <a:stretch/>
        </p:blipFill>
        <p:spPr>
          <a:xfrm>
            <a:off x="10698260" y="3028895"/>
            <a:ext cx="647164" cy="639675"/>
          </a:xfrm>
          <a:prstGeom prst="rect">
            <a:avLst/>
          </a:prstGeom>
        </p:spPr>
      </p:pic>
      <p:pic>
        <p:nvPicPr>
          <p:cNvPr id="73" name="Picture 23">
            <a:extLst>
              <a:ext uri="{FF2B5EF4-FFF2-40B4-BE49-F238E27FC236}">
                <a16:creationId xmlns:a16="http://schemas.microsoft.com/office/drawing/2014/main" id="{ACDDF92C-8B84-41E5-820A-899B9B8467C6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379877" y="4296642"/>
            <a:ext cx="1250900" cy="307240"/>
          </a:xfrm>
          <a:prstGeom prst="rect">
            <a:avLst/>
          </a:prstGeom>
        </p:spPr>
      </p:pic>
      <p:pic>
        <p:nvPicPr>
          <p:cNvPr id="56" name="Obrázek 55">
            <a:extLst>
              <a:ext uri="{FF2B5EF4-FFF2-40B4-BE49-F238E27FC236}">
                <a16:creationId xmlns:a16="http://schemas.microsoft.com/office/drawing/2014/main" id="{A664A00C-1FB1-40FB-8530-EF26060A8CA4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7951" y="1984857"/>
            <a:ext cx="994199" cy="562854"/>
          </a:xfrm>
          <a:prstGeom prst="rect">
            <a:avLst/>
          </a:prstGeom>
        </p:spPr>
      </p:pic>
      <p:pic>
        <p:nvPicPr>
          <p:cNvPr id="74" name="Picture 14">
            <a:extLst>
              <a:ext uri="{FF2B5EF4-FFF2-40B4-BE49-F238E27FC236}">
                <a16:creationId xmlns:a16="http://schemas.microsoft.com/office/drawing/2014/main" id="{542A407B-15AD-4A40-931F-245329D076C1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8070981" y="5455129"/>
            <a:ext cx="949555" cy="279664"/>
          </a:xfrm>
          <a:prstGeom prst="rect">
            <a:avLst/>
          </a:prstGeom>
        </p:spPr>
      </p:pic>
      <p:pic>
        <p:nvPicPr>
          <p:cNvPr id="76" name="Obrázek 75">
            <a:extLst>
              <a:ext uri="{FF2B5EF4-FFF2-40B4-BE49-F238E27FC236}">
                <a16:creationId xmlns:a16="http://schemas.microsoft.com/office/drawing/2014/main" id="{AA36793E-D83F-4DB5-85D4-B676A61720C9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2891" y="2842556"/>
            <a:ext cx="1432113" cy="357093"/>
          </a:xfrm>
          <a:prstGeom prst="rect">
            <a:avLst/>
          </a:prstGeom>
        </p:spPr>
      </p:pic>
      <p:pic>
        <p:nvPicPr>
          <p:cNvPr id="77" name="Obrázek 76">
            <a:extLst>
              <a:ext uri="{FF2B5EF4-FFF2-40B4-BE49-F238E27FC236}">
                <a16:creationId xmlns:a16="http://schemas.microsoft.com/office/drawing/2014/main" id="{F547848E-B8CF-442B-A33B-37BBC0013AE3}"/>
              </a:ext>
            </a:extLst>
          </p:cNvPr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57"/>
          <a:stretch/>
        </p:blipFill>
        <p:spPr>
          <a:xfrm>
            <a:off x="10030524" y="1781233"/>
            <a:ext cx="1335472" cy="521539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94143C65-4249-4FE2-801B-02359B067C4E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3672" y="5004466"/>
            <a:ext cx="644694" cy="373704"/>
          </a:xfrm>
          <a:prstGeom prst="rect">
            <a:avLst/>
          </a:prstGeom>
        </p:spPr>
      </p:pic>
      <p:pic>
        <p:nvPicPr>
          <p:cNvPr id="17" name="Obrázek 16">
            <a:extLst>
              <a:ext uri="{FF2B5EF4-FFF2-40B4-BE49-F238E27FC236}">
                <a16:creationId xmlns:a16="http://schemas.microsoft.com/office/drawing/2014/main" id="{A5C2AF6B-1E62-45B0-8C69-0B436D4E3447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656229" y="5109153"/>
            <a:ext cx="1304010" cy="485808"/>
          </a:xfrm>
          <a:prstGeom prst="rect">
            <a:avLst/>
          </a:prstGeom>
        </p:spPr>
      </p:pic>
      <p:pic>
        <p:nvPicPr>
          <p:cNvPr id="18" name="Obrázek 17">
            <a:extLst>
              <a:ext uri="{FF2B5EF4-FFF2-40B4-BE49-F238E27FC236}">
                <a16:creationId xmlns:a16="http://schemas.microsoft.com/office/drawing/2014/main" id="{A5257D51-4E1E-4222-BE46-E6465D168D49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814285" y="4663267"/>
            <a:ext cx="884818" cy="521726"/>
          </a:xfrm>
          <a:prstGeom prst="rect">
            <a:avLst/>
          </a:prstGeom>
        </p:spPr>
      </p:pic>
      <p:pic>
        <p:nvPicPr>
          <p:cNvPr id="70" name="Picture 2">
            <a:extLst>
              <a:ext uri="{FF2B5EF4-FFF2-40B4-BE49-F238E27FC236}">
                <a16:creationId xmlns:a16="http://schemas.microsoft.com/office/drawing/2014/main" id="{AF9FDF2A-D656-40CB-9055-1A08AFB6ED29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8846958" y="3579179"/>
            <a:ext cx="1432113" cy="30772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E9CC135-059A-4F23-9E54-8DF8B0B02A2C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59401" y="2271232"/>
            <a:ext cx="1078214" cy="367829"/>
          </a:xfrm>
          <a:prstGeom prst="rect">
            <a:avLst/>
          </a:prstGeom>
        </p:spPr>
      </p:pic>
      <p:pic>
        <p:nvPicPr>
          <p:cNvPr id="1026" name="Picture 2" descr="SouvisejÃ­cÃ­ obrÃ¡zek">
            <a:extLst>
              <a:ext uri="{FF2B5EF4-FFF2-40B4-BE49-F238E27FC236}">
                <a16:creationId xmlns:a16="http://schemas.microsoft.com/office/drawing/2014/main" id="{BD671A20-B234-4150-A875-9CAB88FC73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9230" y="3515110"/>
            <a:ext cx="748572" cy="561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Temp\SNAGHTML1f368647.PNG">
            <a:extLst>
              <a:ext uri="{FF2B5EF4-FFF2-40B4-BE49-F238E27FC236}">
                <a16:creationId xmlns:a16="http://schemas.microsoft.com/office/drawing/2014/main" id="{1826EFB1-1BED-4A78-A70B-F1DED82564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5843" y="2216803"/>
            <a:ext cx="769904" cy="587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49BF5AF-9943-4EB3-8AB1-3F18AB995826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9556055" y="4092491"/>
            <a:ext cx="1166929" cy="2908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595020B-403A-4C0F-A5E0-5E3A5850BE7A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8864683" y="2982315"/>
            <a:ext cx="1140352" cy="49692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816ACE9-98B4-49A1-B210-56A82F246BE2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1926056" y="3378405"/>
            <a:ext cx="951742" cy="60772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9FF3EFB-60E7-48B6-AF15-5F4CB8668B41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6673321" y="2550839"/>
            <a:ext cx="968651" cy="42897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B2B3EF7-A912-4676-B69C-2721B358E228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4415819" y="5563110"/>
            <a:ext cx="1638300" cy="285750"/>
          </a:xfrm>
          <a:prstGeom prst="rect">
            <a:avLst/>
          </a:prstGeom>
        </p:spPr>
      </p:pic>
      <p:pic>
        <p:nvPicPr>
          <p:cNvPr id="49" name="Picture 11">
            <a:extLst>
              <a:ext uri="{FF2B5EF4-FFF2-40B4-BE49-F238E27FC236}">
                <a16:creationId xmlns:a16="http://schemas.microsoft.com/office/drawing/2014/main" id="{D90E0985-FCE2-48F5-ACD3-61B14EF155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/>
          <a:srcRect/>
          <a:stretch>
            <a:fillRect/>
          </a:stretch>
        </p:blipFill>
        <p:spPr bwMode="auto">
          <a:xfrm>
            <a:off x="2537465" y="3014585"/>
            <a:ext cx="1202430" cy="770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" name="Picture 15">
            <a:extLst>
              <a:ext uri="{FF2B5EF4-FFF2-40B4-BE49-F238E27FC236}">
                <a16:creationId xmlns:a16="http://schemas.microsoft.com/office/drawing/2014/main" id="{95CCA16E-E18C-47DC-9688-5CC1A1234F57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2531207" y="2663270"/>
            <a:ext cx="1235385" cy="470828"/>
          </a:xfrm>
          <a:prstGeom prst="rect">
            <a:avLst/>
          </a:prstGeom>
        </p:spPr>
      </p:pic>
      <p:pic>
        <p:nvPicPr>
          <p:cNvPr id="50" name="Picture 6">
            <a:extLst>
              <a:ext uri="{FF2B5EF4-FFF2-40B4-BE49-F238E27FC236}">
                <a16:creationId xmlns:a16="http://schemas.microsoft.com/office/drawing/2014/main" id="{4866919D-3B01-47EB-9F1D-B419E93C9F6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13668" y="3086721"/>
            <a:ext cx="1434283" cy="378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254DA1FD-62B1-4F0B-9135-C0B9054E5929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7989" y="3223834"/>
            <a:ext cx="814580" cy="488748"/>
          </a:xfrm>
          <a:prstGeom prst="rect">
            <a:avLst/>
          </a:prstGeom>
        </p:spPr>
      </p:pic>
      <p:pic>
        <p:nvPicPr>
          <p:cNvPr id="19" name="Picture 18" descr="A picture containing drawing&#10;&#10;Description automatically generated">
            <a:extLst>
              <a:ext uri="{FF2B5EF4-FFF2-40B4-BE49-F238E27FC236}">
                <a16:creationId xmlns:a16="http://schemas.microsoft.com/office/drawing/2014/main" id="{30B9894B-8423-49D1-88C9-CB527140EF23}"/>
              </a:ext>
            </a:extLst>
          </p:cNvPr>
          <p:cNvPicPr>
            <a:picLocks noChangeAspect="1"/>
          </p:cNvPicPr>
          <p:nvPr/>
        </p:nvPicPr>
        <p:blipFill rotWithShape="1"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17" t="11305" r="14404"/>
          <a:stretch/>
        </p:blipFill>
        <p:spPr>
          <a:xfrm>
            <a:off x="5738610" y="4843003"/>
            <a:ext cx="740814" cy="500858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CFB6E9F1-7EEA-4F28-A5F3-C4D3F5B53EBC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10857558" y="5066216"/>
            <a:ext cx="460203" cy="460203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61B493E-A95F-4A50-AE9C-FB108D0D0C3A}"/>
              </a:ext>
            </a:extLst>
          </p:cNvPr>
          <p:cNvPicPr>
            <a:picLocks noChangeAspect="1"/>
          </p:cNvPicPr>
          <p:nvPr/>
        </p:nvPicPr>
        <p:blipFill rotWithShape="1"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93" t="11711" r="16814" b="19796"/>
          <a:stretch/>
        </p:blipFill>
        <p:spPr>
          <a:xfrm>
            <a:off x="5921277" y="1770528"/>
            <a:ext cx="999329" cy="62031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877965AC-E992-4D47-82E8-CB74374FF784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8521" y="2087884"/>
            <a:ext cx="556329" cy="509968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12B0C78D-7B96-446D-971B-0FFC7A40B878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6752" y="2457625"/>
            <a:ext cx="1178496" cy="498061"/>
          </a:xfrm>
          <a:prstGeom prst="rect">
            <a:avLst/>
          </a:prstGeom>
        </p:spPr>
      </p:pic>
      <p:sp>
        <p:nvSpPr>
          <p:cNvPr id="6" name="Obdélník 5">
            <a:extLst>
              <a:ext uri="{FF2B5EF4-FFF2-40B4-BE49-F238E27FC236}">
                <a16:creationId xmlns:a16="http://schemas.microsoft.com/office/drawing/2014/main" id="{2126D113-116B-49DA-8FA2-73A6F3579C14}"/>
              </a:ext>
            </a:extLst>
          </p:cNvPr>
          <p:cNvSpPr/>
          <p:nvPr/>
        </p:nvSpPr>
        <p:spPr>
          <a:xfrm>
            <a:off x="4339929" y="1778144"/>
            <a:ext cx="3354901" cy="413939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1">
              <a:latin typeface="Tw Cen MT" panose="020B0602020104020603" pitchFamily="34" charset="0"/>
              <a:ea typeface="Ebrima" panose="02000000000000000000" pitchFamily="2" charset="0"/>
              <a:cs typeface="Ebrima" panose="02000000000000000000" pitchFamily="2" charset="0"/>
            </a:endParaRPr>
          </a:p>
        </p:txBody>
      </p:sp>
      <p:pic>
        <p:nvPicPr>
          <p:cNvPr id="65" name="Picture 30">
            <a:extLst>
              <a:ext uri="{FF2B5EF4-FFF2-40B4-BE49-F238E27FC236}">
                <a16:creationId xmlns:a16="http://schemas.microsoft.com/office/drawing/2014/main" id="{A3497B80-C155-43CA-86EA-EF0A1AEFAC61}"/>
              </a:ext>
            </a:extLst>
          </p:cNvPr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4504873" y="4468468"/>
            <a:ext cx="2194631" cy="342283"/>
          </a:xfrm>
          <a:prstGeom prst="rect">
            <a:avLst/>
          </a:prstGeom>
        </p:spPr>
      </p:pic>
      <p:pic>
        <p:nvPicPr>
          <p:cNvPr id="66" name="Obrázek 65">
            <a:extLst>
              <a:ext uri="{FF2B5EF4-FFF2-40B4-BE49-F238E27FC236}">
                <a16:creationId xmlns:a16="http://schemas.microsoft.com/office/drawing/2014/main" id="{949F6F06-95B1-45F8-B275-132F34AB4FA2}"/>
              </a:ext>
            </a:extLst>
          </p:cNvPr>
          <p:cNvPicPr>
            <a:picLocks noChangeAspect="1"/>
          </p:cNvPicPr>
          <p:nvPr/>
        </p:nvPicPr>
        <p:blipFill rotWithShape="1"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30" t="13490" r="15026" b="19674"/>
          <a:stretch/>
        </p:blipFill>
        <p:spPr>
          <a:xfrm>
            <a:off x="4719662" y="2573375"/>
            <a:ext cx="618270" cy="293249"/>
          </a:xfrm>
          <a:prstGeom prst="rect">
            <a:avLst/>
          </a:prstGeom>
        </p:spPr>
      </p:pic>
      <p:pic>
        <p:nvPicPr>
          <p:cNvPr id="63" name="Picture 24">
            <a:extLst>
              <a:ext uri="{FF2B5EF4-FFF2-40B4-BE49-F238E27FC236}">
                <a16:creationId xmlns:a16="http://schemas.microsoft.com/office/drawing/2014/main" id="{B8DECE93-9029-4299-B6FF-13FB6A00DE8C}"/>
              </a:ext>
            </a:extLst>
          </p:cNvPr>
          <p:cNvPicPr>
            <a:picLocks noChangeAspect="1"/>
          </p:cNvPicPr>
          <p:nvPr/>
        </p:nvPicPr>
        <p:blipFill rotWithShape="1">
          <a:blip r:embed="rId50"/>
          <a:srcRect t="13925" b="16799"/>
          <a:stretch/>
        </p:blipFill>
        <p:spPr>
          <a:xfrm>
            <a:off x="4476524" y="4941123"/>
            <a:ext cx="1137932" cy="439542"/>
          </a:xfrm>
          <a:prstGeom prst="rect">
            <a:avLst/>
          </a:prstGeom>
        </p:spPr>
      </p:pic>
      <p:pic>
        <p:nvPicPr>
          <p:cNvPr id="79" name="Picture 6" descr="Dopravný podnik Bratislava – Wikipédia">
            <a:extLst>
              <a:ext uri="{FF2B5EF4-FFF2-40B4-BE49-F238E27FC236}">
                <a16:creationId xmlns:a16="http://schemas.microsoft.com/office/drawing/2014/main" id="{04BBF619-0065-4D62-9C85-94CF0C3B1A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3101" y="3240142"/>
            <a:ext cx="464456" cy="505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0D2D1C6-DBDB-4235-BD2D-B00B3DDD2468}"/>
              </a:ext>
            </a:extLst>
          </p:cNvPr>
          <p:cNvPicPr>
            <a:picLocks noChangeAspect="1"/>
          </p:cNvPicPr>
          <p:nvPr/>
        </p:nvPicPr>
        <p:blipFill>
          <a:blip r:embed="rId52"/>
          <a:stretch>
            <a:fillRect/>
          </a:stretch>
        </p:blipFill>
        <p:spPr>
          <a:xfrm>
            <a:off x="8077711" y="2102689"/>
            <a:ext cx="491275" cy="480358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9D7CAB81-0ADE-4E2C-9933-A2C84103BCDB}"/>
              </a:ext>
            </a:extLst>
          </p:cNvPr>
          <p:cNvPicPr>
            <a:picLocks noChangeAspect="1"/>
          </p:cNvPicPr>
          <p:nvPr/>
        </p:nvPicPr>
        <p:blipFill>
          <a:blip r:embed="rId53"/>
          <a:stretch>
            <a:fillRect/>
          </a:stretch>
        </p:blipFill>
        <p:spPr>
          <a:xfrm>
            <a:off x="3135388" y="4384414"/>
            <a:ext cx="787940" cy="413325"/>
          </a:xfrm>
          <a:prstGeom prst="rect">
            <a:avLst/>
          </a:prstGeom>
        </p:spPr>
      </p:pic>
      <p:pic>
        <p:nvPicPr>
          <p:cNvPr id="82" name="Picture 2">
            <a:extLst>
              <a:ext uri="{FF2B5EF4-FFF2-40B4-BE49-F238E27FC236}">
                <a16:creationId xmlns:a16="http://schemas.microsoft.com/office/drawing/2014/main" id="{4CF63466-A47B-40D5-9F7C-74596DF5EC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0685" y="2418591"/>
            <a:ext cx="513324" cy="405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20D9F30-DCCD-462F-B999-2A3D31C69ECD}"/>
              </a:ext>
            </a:extLst>
          </p:cNvPr>
          <p:cNvPicPr>
            <a:picLocks noChangeAspect="1"/>
          </p:cNvPicPr>
          <p:nvPr/>
        </p:nvPicPr>
        <p:blipFill>
          <a:blip r:embed="rId55"/>
          <a:stretch>
            <a:fillRect/>
          </a:stretch>
        </p:blipFill>
        <p:spPr>
          <a:xfrm>
            <a:off x="6677673" y="2956503"/>
            <a:ext cx="914693" cy="357302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6480369-190B-4CE6-A00A-BA9A1006B468}"/>
              </a:ext>
            </a:extLst>
          </p:cNvPr>
          <p:cNvPicPr>
            <a:picLocks noChangeAspect="1"/>
          </p:cNvPicPr>
          <p:nvPr/>
        </p:nvPicPr>
        <p:blipFill rotWithShape="1">
          <a:blip r:embed="rId56"/>
          <a:srcRect l="21163" t="12189" r="15948" b="18509"/>
          <a:stretch/>
        </p:blipFill>
        <p:spPr>
          <a:xfrm>
            <a:off x="10039863" y="2290571"/>
            <a:ext cx="469900" cy="51781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FA71FF27-8B0C-4DBF-A638-60FD3A9D067E}"/>
              </a:ext>
            </a:extLst>
          </p:cNvPr>
          <p:cNvPicPr>
            <a:picLocks noChangeAspect="1"/>
          </p:cNvPicPr>
          <p:nvPr/>
        </p:nvPicPr>
        <p:blipFill>
          <a:blip r:embed="rId57"/>
          <a:stretch>
            <a:fillRect/>
          </a:stretch>
        </p:blipFill>
        <p:spPr>
          <a:xfrm>
            <a:off x="2977242" y="1803254"/>
            <a:ext cx="844066" cy="440321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A9E28ED2-2E72-47AF-AD17-57C9EA04B8CA}"/>
              </a:ext>
            </a:extLst>
          </p:cNvPr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8076963" y="4312027"/>
            <a:ext cx="1272166" cy="311036"/>
          </a:xfrm>
          <a:prstGeom prst="rect">
            <a:avLst/>
          </a:prstGeom>
        </p:spPr>
      </p:pic>
      <p:pic>
        <p:nvPicPr>
          <p:cNvPr id="41" name="Picture 6" descr="VÃ½sledok vyhÄ¾adÃ¡vania obrÃ¡zkov pre dopyt asbis">
            <a:extLst>
              <a:ext uri="{FF2B5EF4-FFF2-40B4-BE49-F238E27FC236}">
                <a16:creationId xmlns:a16="http://schemas.microsoft.com/office/drawing/2014/main" id="{B277B24A-0699-4E2C-B22B-A57393B55C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1699" y="3079448"/>
            <a:ext cx="984386" cy="236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4A004A97-C6F8-4402-8A7B-13402CDE7273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8616" y="3778552"/>
            <a:ext cx="890598" cy="258423"/>
          </a:xfrm>
          <a:prstGeom prst="rect">
            <a:avLst/>
          </a:prstGeom>
        </p:spPr>
      </p:pic>
      <p:pic>
        <p:nvPicPr>
          <p:cNvPr id="75" name="Picture 7">
            <a:extLst>
              <a:ext uri="{FF2B5EF4-FFF2-40B4-BE49-F238E27FC236}">
                <a16:creationId xmlns:a16="http://schemas.microsoft.com/office/drawing/2014/main" id="{BFDFA6D7-C526-4B72-B5F0-F8C7FE7CEE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1"/>
          <a:srcRect/>
          <a:stretch>
            <a:fillRect/>
          </a:stretch>
        </p:blipFill>
        <p:spPr bwMode="auto">
          <a:xfrm>
            <a:off x="9763565" y="4638946"/>
            <a:ext cx="1543527" cy="3928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13F97B3-E7EB-4891-B2B3-ED74F2F2BF3A}"/>
              </a:ext>
            </a:extLst>
          </p:cNvPr>
          <p:cNvPicPr>
            <a:picLocks noChangeAspect="1"/>
          </p:cNvPicPr>
          <p:nvPr/>
        </p:nvPicPr>
        <p:blipFill>
          <a:blip r:embed="rId62"/>
          <a:stretch>
            <a:fillRect/>
          </a:stretch>
        </p:blipFill>
        <p:spPr>
          <a:xfrm>
            <a:off x="9702159" y="2857705"/>
            <a:ext cx="1363713" cy="175491"/>
          </a:xfrm>
          <a:prstGeom prst="rect">
            <a:avLst/>
          </a:prstGeom>
        </p:spPr>
      </p:pic>
      <p:pic>
        <p:nvPicPr>
          <p:cNvPr id="78" name="Obrázok 1" descr="Obec Holíč">
            <a:extLst>
              <a:ext uri="{FF2B5EF4-FFF2-40B4-BE49-F238E27FC236}">
                <a16:creationId xmlns:a16="http://schemas.microsoft.com/office/drawing/2014/main" id="{C919746D-8A3F-4C98-896C-46F68FEA2ECF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6538" y="2458899"/>
            <a:ext cx="359454" cy="359454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Obrázek 11" descr="Obsah obrázku text, klipart&#10;&#10;Popis byl vytvořen automaticky">
            <a:extLst>
              <a:ext uri="{FF2B5EF4-FFF2-40B4-BE49-F238E27FC236}">
                <a16:creationId xmlns:a16="http://schemas.microsoft.com/office/drawing/2014/main" id="{663AF3AE-7799-A29D-7593-8F50E63BAE3A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7393" y="1802194"/>
            <a:ext cx="1502610" cy="35983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5B01CC0-A80B-4885-8787-0F4DB7AB0816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1097" y="2094937"/>
            <a:ext cx="821751" cy="313680"/>
          </a:xfrm>
          <a:prstGeom prst="rect">
            <a:avLst/>
          </a:prstGeom>
        </p:spPr>
      </p:pic>
      <p:pic>
        <p:nvPicPr>
          <p:cNvPr id="36" name="Obrázek 35">
            <a:extLst>
              <a:ext uri="{FF2B5EF4-FFF2-40B4-BE49-F238E27FC236}">
                <a16:creationId xmlns:a16="http://schemas.microsoft.com/office/drawing/2014/main" id="{52D8AF3D-69D1-3A3A-9AC3-B7A7A196FAD9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3413" y="4999622"/>
            <a:ext cx="1318349" cy="424104"/>
          </a:xfrm>
          <a:prstGeom prst="rect">
            <a:avLst/>
          </a:prstGeom>
        </p:spPr>
      </p:pic>
      <p:pic>
        <p:nvPicPr>
          <p:cNvPr id="39" name="Obrázek 38" descr="Obsah obrázku text&#10;&#10;Popis byl vytvořen automaticky">
            <a:extLst>
              <a:ext uri="{FF2B5EF4-FFF2-40B4-BE49-F238E27FC236}">
                <a16:creationId xmlns:a16="http://schemas.microsoft.com/office/drawing/2014/main" id="{126E7CF7-E61F-3ACC-37A9-167C445E410D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9631" y="5483394"/>
            <a:ext cx="1202898" cy="383533"/>
          </a:xfrm>
          <a:prstGeom prst="rect">
            <a:avLst/>
          </a:prstGeom>
        </p:spPr>
      </p:pic>
      <p:pic>
        <p:nvPicPr>
          <p:cNvPr id="42" name="Obrázek 41" descr="Obsah obrázku kovové nádobí, řetěz&#10;&#10;Popis byl vytvořen automaticky">
            <a:extLst>
              <a:ext uri="{FF2B5EF4-FFF2-40B4-BE49-F238E27FC236}">
                <a16:creationId xmlns:a16="http://schemas.microsoft.com/office/drawing/2014/main" id="{B7DCD6EB-FF77-1545-6CD0-F02A57D041D8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2516" y="4070458"/>
            <a:ext cx="381140" cy="496930"/>
          </a:xfrm>
          <a:prstGeom prst="rect">
            <a:avLst/>
          </a:prstGeom>
        </p:spPr>
      </p:pic>
      <p:pic>
        <p:nvPicPr>
          <p:cNvPr id="44" name="Obrázek 43">
            <a:extLst>
              <a:ext uri="{FF2B5EF4-FFF2-40B4-BE49-F238E27FC236}">
                <a16:creationId xmlns:a16="http://schemas.microsoft.com/office/drawing/2014/main" id="{D7444EA4-61D0-3DAC-31FE-90A3830F40C6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1117" y="2951994"/>
            <a:ext cx="1582640" cy="278785"/>
          </a:xfrm>
          <a:prstGeom prst="rect">
            <a:avLst/>
          </a:prstGeom>
        </p:spPr>
      </p:pic>
      <p:pic>
        <p:nvPicPr>
          <p:cNvPr id="46" name="Obrázek 45" descr="Obsah obrázku text, hodiny&#10;&#10;Popis byl vytvořen automaticky">
            <a:extLst>
              <a:ext uri="{FF2B5EF4-FFF2-40B4-BE49-F238E27FC236}">
                <a16:creationId xmlns:a16="http://schemas.microsoft.com/office/drawing/2014/main" id="{7DD923A0-D96A-F4E0-1AF7-C106E6E9FF78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8065927" y="4703765"/>
            <a:ext cx="1716165" cy="263168"/>
          </a:xfrm>
          <a:prstGeom prst="rect">
            <a:avLst/>
          </a:prstGeom>
        </p:spPr>
      </p:pic>
      <p:pic>
        <p:nvPicPr>
          <p:cNvPr id="83" name="Obrázek 82">
            <a:extLst>
              <a:ext uri="{FF2B5EF4-FFF2-40B4-BE49-F238E27FC236}">
                <a16:creationId xmlns:a16="http://schemas.microsoft.com/office/drawing/2014/main" id="{CA7F0695-4989-79AC-CF51-08E1D3273394}"/>
              </a:ext>
            </a:extLst>
          </p:cNvPr>
          <p:cNvPicPr>
            <a:picLocks noChangeAspect="1"/>
          </p:cNvPicPr>
          <p:nvPr/>
        </p:nvPicPr>
        <p:blipFill rotWithShape="1"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66" t="16149" r="8587" b="16283"/>
          <a:stretch/>
        </p:blipFill>
        <p:spPr>
          <a:xfrm>
            <a:off x="2935870" y="3575317"/>
            <a:ext cx="868215" cy="362307"/>
          </a:xfrm>
          <a:prstGeom prst="rect">
            <a:avLst/>
          </a:prstGeom>
        </p:spPr>
      </p:pic>
      <p:pic>
        <p:nvPicPr>
          <p:cNvPr id="85" name="Obrázek 84">
            <a:extLst>
              <a:ext uri="{FF2B5EF4-FFF2-40B4-BE49-F238E27FC236}">
                <a16:creationId xmlns:a16="http://schemas.microsoft.com/office/drawing/2014/main" id="{E0EB6D49-1376-AE2A-E176-73BBC51CDE34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3547" y="3390726"/>
            <a:ext cx="1227113" cy="280669"/>
          </a:xfrm>
          <a:prstGeom prst="rect">
            <a:avLst/>
          </a:prstGeom>
        </p:spPr>
      </p:pic>
      <p:pic>
        <p:nvPicPr>
          <p:cNvPr id="87" name="Obrázek 86">
            <a:extLst>
              <a:ext uri="{FF2B5EF4-FFF2-40B4-BE49-F238E27FC236}">
                <a16:creationId xmlns:a16="http://schemas.microsoft.com/office/drawing/2014/main" id="{AE25CDB2-1998-4D03-5121-07BEE18A0126}"/>
              </a:ext>
            </a:extLst>
          </p:cNvPr>
          <p:cNvPicPr>
            <a:picLocks noChangeAspect="1"/>
          </p:cNvPicPr>
          <p:nvPr/>
        </p:nvPicPr>
        <p:blipFill rotWithShape="1"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77" t="31560" r="6339" b="33993"/>
          <a:stretch/>
        </p:blipFill>
        <p:spPr>
          <a:xfrm>
            <a:off x="5479851" y="3723489"/>
            <a:ext cx="908039" cy="302794"/>
          </a:xfrm>
          <a:prstGeom prst="rect">
            <a:avLst/>
          </a:prstGeom>
        </p:spPr>
      </p:pic>
      <p:pic>
        <p:nvPicPr>
          <p:cNvPr id="91" name="Obrázek 90" descr="Obsah obrázku text&#10;&#10;Popis byl vytvořen automaticky">
            <a:extLst>
              <a:ext uri="{FF2B5EF4-FFF2-40B4-BE49-F238E27FC236}">
                <a16:creationId xmlns:a16="http://schemas.microsoft.com/office/drawing/2014/main" id="{D2F9C4E1-7C59-7293-15A4-6DC70A694506}"/>
              </a:ext>
            </a:extLst>
          </p:cNvPr>
          <p:cNvPicPr>
            <a:picLocks noChangeAspect="1"/>
          </p:cNvPicPr>
          <p:nvPr/>
        </p:nvPicPr>
        <p:blipFill rotWithShape="1"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84" t="34905" r="5104" b="35581"/>
          <a:stretch/>
        </p:blipFill>
        <p:spPr>
          <a:xfrm>
            <a:off x="9792569" y="5428684"/>
            <a:ext cx="1252784" cy="408942"/>
          </a:xfrm>
          <a:prstGeom prst="rect">
            <a:avLst/>
          </a:prstGeom>
        </p:spPr>
      </p:pic>
      <p:pic>
        <p:nvPicPr>
          <p:cNvPr id="93" name="Obrázek 92">
            <a:extLst>
              <a:ext uri="{FF2B5EF4-FFF2-40B4-BE49-F238E27FC236}">
                <a16:creationId xmlns:a16="http://schemas.microsoft.com/office/drawing/2014/main" id="{DB102466-41F7-42E3-FA0F-64EE7BAD9018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3177" y="5419059"/>
            <a:ext cx="808502" cy="446412"/>
          </a:xfrm>
          <a:prstGeom prst="rect">
            <a:avLst/>
          </a:prstGeom>
        </p:spPr>
      </p:pic>
      <p:pic>
        <p:nvPicPr>
          <p:cNvPr id="95" name="Obrázek 94" descr="Obsah obrázku text&#10;&#10;Popis byl vytvořen automaticky">
            <a:extLst>
              <a:ext uri="{FF2B5EF4-FFF2-40B4-BE49-F238E27FC236}">
                <a16:creationId xmlns:a16="http://schemas.microsoft.com/office/drawing/2014/main" id="{A1E26927-6905-31A6-18FE-B9BD0DF41EE8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321" y="3527391"/>
            <a:ext cx="1152663" cy="343054"/>
          </a:xfrm>
          <a:prstGeom prst="rect">
            <a:avLst/>
          </a:prstGeom>
        </p:spPr>
      </p:pic>
      <p:pic>
        <p:nvPicPr>
          <p:cNvPr id="1025" name="Obrázek 1024">
            <a:extLst>
              <a:ext uri="{FF2B5EF4-FFF2-40B4-BE49-F238E27FC236}">
                <a16:creationId xmlns:a16="http://schemas.microsoft.com/office/drawing/2014/main" id="{300EFA07-FDD1-7E41-A270-8FD50CF467FB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295" y="5630247"/>
            <a:ext cx="1198981" cy="22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191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0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3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9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8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ovéPole 8">
            <a:extLst>
              <a:ext uri="{FF2B5EF4-FFF2-40B4-BE49-F238E27FC236}">
                <a16:creationId xmlns:a16="http://schemas.microsoft.com/office/drawing/2014/main" id="{369E7568-787D-442A-8B4D-EFC20DA9C8CF}"/>
              </a:ext>
            </a:extLst>
          </p:cNvPr>
          <p:cNvSpPr txBox="1"/>
          <p:nvPr/>
        </p:nvSpPr>
        <p:spPr>
          <a:xfrm>
            <a:off x="424206" y="1428373"/>
            <a:ext cx="5307291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4800" b="1" i="0">
                <a:solidFill>
                  <a:schemeClr val="tx2"/>
                </a:solidFill>
                <a:effectLst/>
                <a:latin typeface="Tw Cen MT" panose="020B0602020104020603" pitchFamily="34" charset="-18"/>
              </a:rPr>
              <a:t>Lepší</a:t>
            </a:r>
            <a:r>
              <a:rPr lang="cs-CZ" sz="4800" b="1" i="0">
                <a:effectLst/>
                <a:latin typeface="Tw Cen MT" panose="020B0602020104020603" pitchFamily="34" charset="-18"/>
              </a:rPr>
              <a:t> špetka prevence </a:t>
            </a:r>
            <a:r>
              <a:rPr lang="cs-CZ" sz="4800" b="1" i="0">
                <a:solidFill>
                  <a:schemeClr val="tx2"/>
                </a:solidFill>
                <a:effectLst/>
                <a:latin typeface="Tw Cen MT" panose="020B0602020104020603" pitchFamily="34" charset="-18"/>
              </a:rPr>
              <a:t>než</a:t>
            </a:r>
            <a:r>
              <a:rPr lang="cs-CZ" sz="4800" b="1" i="0">
                <a:effectLst/>
                <a:latin typeface="Tw Cen MT" panose="020B0602020104020603" pitchFamily="34" charset="-18"/>
              </a:rPr>
              <a:t> pytel </a:t>
            </a:r>
            <a:r>
              <a:rPr lang="cs-CZ" sz="4800" b="1" i="0">
                <a:solidFill>
                  <a:schemeClr val="tx2"/>
                </a:solidFill>
                <a:effectLst/>
                <a:latin typeface="Tw Cen MT" panose="020B0602020104020603" pitchFamily="34" charset="-18"/>
              </a:rPr>
              <a:t>nápravných</a:t>
            </a:r>
            <a:r>
              <a:rPr lang="cs-CZ" sz="4800" b="1" i="0">
                <a:effectLst/>
                <a:latin typeface="Tw Cen MT" panose="020B0602020104020603" pitchFamily="34" charset="-18"/>
              </a:rPr>
              <a:t> opatření!</a:t>
            </a:r>
            <a:endParaRPr lang="cs-CZ" sz="4800" b="1">
              <a:latin typeface="Tw Cen MT" panose="020B0602020104020603" pitchFamily="34" charset="-18"/>
            </a:endParaRPr>
          </a:p>
        </p:txBody>
      </p:sp>
      <p:pic>
        <p:nvPicPr>
          <p:cNvPr id="3" name="Picture 2" descr="Obsahuje obrázek: Half Full by Maria Scrivan for May 21, 2016 | GoComics.com">
            <a:extLst>
              <a:ext uri="{FF2B5EF4-FFF2-40B4-BE49-F238E27FC236}">
                <a16:creationId xmlns:a16="http://schemas.microsoft.com/office/drawing/2014/main" id="{A81863C4-35FC-0C01-4CC2-A18552E4FF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9008" y="881199"/>
            <a:ext cx="4373889" cy="5096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4033892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znění případové studie. koncepce podnikového vzdělávání - case study - stock snímky, obrázky a fotky">
            <a:extLst>
              <a:ext uri="{FF2B5EF4-FFF2-40B4-BE49-F238E27FC236}">
                <a16:creationId xmlns:a16="http://schemas.microsoft.com/office/drawing/2014/main" id="{CB974278-F07D-ECC0-4C67-4831D4993F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6023" y="981503"/>
            <a:ext cx="7119953" cy="4746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4309047"/>
      </p:ext>
    </p:extLst>
  </p:cSld>
  <p:clrMapOvr>
    <a:masterClrMapping/>
  </p:clrMapOvr>
  <p:transition spd="slow">
    <p:push dir="u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2">
            <a:extLst>
              <a:ext uri="{FF2B5EF4-FFF2-40B4-BE49-F238E27FC236}">
                <a16:creationId xmlns:a16="http://schemas.microsoft.com/office/drawing/2014/main" id="{0D3B46E2-03E3-4DCC-8AC5-46D0F31823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0619" y="-95297"/>
            <a:ext cx="8350250" cy="884237"/>
          </a:xfrm>
        </p:spPr>
        <p:txBody>
          <a:bodyPr>
            <a:normAutofit/>
          </a:bodyPr>
          <a:lstStyle/>
          <a:p>
            <a:r>
              <a:rPr lang="cs-CZ" dirty="0">
                <a:solidFill>
                  <a:srgbClr val="FF0000"/>
                </a:solidFill>
              </a:rPr>
              <a:t>Původní stav 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C3DE18C0-7DB5-67A1-508E-1503127AA30D}"/>
              </a:ext>
            </a:extLst>
          </p:cNvPr>
          <p:cNvSpPr txBox="1"/>
          <p:nvPr/>
        </p:nvSpPr>
        <p:spPr>
          <a:xfrm>
            <a:off x="426026" y="1184564"/>
            <a:ext cx="4772585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tx2"/>
                </a:solidFill>
                <a:latin typeface="Tw Cen MT" panose="020B0602020104020603" pitchFamily="34" charset="-18"/>
              </a:rPr>
              <a:t>Existuje pouze jedna síť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tx2"/>
                </a:solidFill>
                <a:latin typeface="Tw Cen MT" panose="020B0602020104020603" pitchFamily="34" charset="-18"/>
              </a:rPr>
              <a:t>Není dokončena segment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tx2"/>
                </a:solidFill>
                <a:latin typeface="Tw Cen MT" panose="020B0602020104020603" pitchFamily="34" charset="-18"/>
              </a:rPr>
              <a:t>Nejsou řízené přístupy zařízen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tx2"/>
                </a:solidFill>
                <a:latin typeface="Tw Cen MT" panose="020B0602020104020603" pitchFamily="34" charset="-18"/>
              </a:rPr>
              <a:t>Není FW v H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tx2"/>
                </a:solidFill>
                <a:latin typeface="Tw Cen MT" panose="020B0602020104020603" pitchFamily="34" charset="-18"/>
              </a:rPr>
              <a:t>Nejsou instalovány technologie pro monitoring K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2400" dirty="0">
                <a:solidFill>
                  <a:schemeClr val="tx2"/>
                </a:solidFill>
                <a:latin typeface="Tw Cen MT" panose="020B0602020104020603" pitchFamily="34" charset="-18"/>
              </a:rPr>
              <a:t>Nejsou popsány procesy a vytvořeny bezpečnostní směrnice </a:t>
            </a:r>
            <a:endParaRPr lang="cs-CZ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E0197D01-6960-1F36-F88D-C8B423679D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8611" y="915060"/>
            <a:ext cx="6867988" cy="4987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335899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aSEl5Hh0WmEbI136ucz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BsWQJy1kKmnKilzfOqe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DGafxVZk6VEuYGrvtm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LzocFuoEmZ5FMg.ROD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lBzBQOjkO17h_xycoC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QwJN4b6U6BT26FE4YL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cM6c8NnEWzE9.9aTIH9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YHU68L90uIUHjI2vQ6c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QsicXlFU6RlcXhSSzY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cOpVowrkWAhgNAxa_1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2XFsQ6OUemTNrfI9mX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aSEl5Hh0WmEbI136ucz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F.xT6NZUiTMiRRFfyjT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4OpgFGYk28vVzSV_9V8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Da.IjEeEyw.dGem6Bj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3vcVCFsUqYz.5cg9Chv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aSEl5Hh0WmEbI136ucz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UWRwFqyk.JV2WNDpUQc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EnYCVecEWCtlsJEYKH5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vjIEM.8Eymlp1byKzg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f5Kgrhjk.0U1mCwCZph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Ih02wTUW5o2LU0Bte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aSEl5Hh0WmEbI136ucz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NBHfpMRkqQldgp5Uda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aG6Whd3U6xKwEx0exQ3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Ih02wTUW5o2LU0BteQ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Da.IjEeEyw.dGem6Bju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Da.IjEeEyw.dGem6Bj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f5Kgrhjk.0U1mCwCZp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aSEl5Hh0WmEbI136uc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Z.mgbmFUSKCZPkv89B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t5GCD9j0yw0XrWoP9D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kypUiUeka6r2luKQLV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omHHh7kaVjAtWF7vW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RwIBbhmE2Eq0ycEUEzeg"/>
</p:tagLst>
</file>

<file path=ppt/theme/theme1.xml><?xml version="1.0" encoding="utf-8"?>
<a:theme xmlns:a="http://schemas.openxmlformats.org/drawingml/2006/main" name="Axenta-ppt">
  <a:themeElements>
    <a:clrScheme name="Custom 1">
      <a:dk1>
        <a:srgbClr val="FF0000"/>
      </a:dk1>
      <a:lt1>
        <a:srgbClr val="FF0000"/>
      </a:lt1>
      <a:dk2>
        <a:srgbClr val="3F3F3F"/>
      </a:dk2>
      <a:lt2>
        <a:srgbClr val="EAEFF2"/>
      </a:lt2>
      <a:accent1>
        <a:srgbClr val="EAEFF2"/>
      </a:accent1>
      <a:accent2>
        <a:srgbClr val="FFC000"/>
      </a:accent2>
      <a:accent3>
        <a:srgbClr val="FF0000"/>
      </a:accent3>
      <a:accent4>
        <a:srgbClr val="BF9000"/>
      </a:accent4>
      <a:accent5>
        <a:srgbClr val="72AEBC"/>
      </a:accent5>
      <a:accent6>
        <a:srgbClr val="2E75B5"/>
      </a:accent6>
      <a:hlink>
        <a:srgbClr val="BF9000"/>
      </a:hlink>
      <a:folHlink>
        <a:srgbClr val="538135"/>
      </a:folHlink>
    </a:clrScheme>
    <a:fontScheme name="AXenta Myriad Pro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xenta-ppt" id="{9420694E-5B67-4C26-80D9-8D9F4D3D1A9B}" vid="{B4DE739B-F592-4808-800A-220FDE53A82F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ív balík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FF469AC57398847BCC0594C359D6610" ma:contentTypeVersion="15" ma:contentTypeDescription="Create a new document." ma:contentTypeScope="" ma:versionID="b21ed009ebaea67f9cc21818d5867b46">
  <xsd:schema xmlns:xsd="http://www.w3.org/2001/XMLSchema" xmlns:xs="http://www.w3.org/2001/XMLSchema" xmlns:p="http://schemas.microsoft.com/office/2006/metadata/properties" xmlns:ns2="93f06d8a-897a-4209-93a2-c0a8eb83f6e4" xmlns:ns3="1683fc70-0135-4481-bab3-bc11a77025f8" targetNamespace="http://schemas.microsoft.com/office/2006/metadata/properties" ma:root="true" ma:fieldsID="f7bda56ce6601606ebfb49a4ebb18923" ns2:_="" ns3:_="">
    <xsd:import namespace="93f06d8a-897a-4209-93a2-c0a8eb83f6e4"/>
    <xsd:import namespace="1683fc70-0135-4481-bab3-bc11a77025f8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f06d8a-897a-4209-93a2-c0a8eb83f6e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f7be604d-da21-4b66-9399-51998bbbb3b8}" ma:internalName="TaxCatchAll" ma:showField="CatchAllData" ma:web="93f06d8a-897a-4209-93a2-c0a8eb83f6e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83fc70-0135-4481-bab3-bc11a77025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MediaServiceAutoTags" ma:internalName="MediaServiceAutoTags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2667263d-4065-4020-8d18-5db6c3e8233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683fc70-0135-4481-bab3-bc11a77025f8">
      <Terms xmlns="http://schemas.microsoft.com/office/infopath/2007/PartnerControls"/>
    </lcf76f155ced4ddcb4097134ff3c332f>
    <TaxCatchAll xmlns="93f06d8a-897a-4209-93a2-c0a8eb83f6e4" xsi:nil="true"/>
  </documentManagement>
</p:properties>
</file>

<file path=customXml/itemProps1.xml><?xml version="1.0" encoding="utf-8"?>
<ds:datastoreItem xmlns:ds="http://schemas.openxmlformats.org/officeDocument/2006/customXml" ds:itemID="{DE1098DC-DAB9-43A3-84A9-295BBD5BC76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95CA517-F3FA-4FD4-B7F1-8241BCA939BD}">
  <ds:schemaRefs>
    <ds:schemaRef ds:uri="1683fc70-0135-4481-bab3-bc11a77025f8"/>
    <ds:schemaRef ds:uri="93f06d8a-897a-4209-93a2-c0a8eb83f6e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B47CAE3-AA03-4F77-ADFA-A30BF8225C08}">
  <ds:schemaRefs>
    <ds:schemaRef ds:uri="1683fc70-0135-4481-bab3-bc11a77025f8"/>
    <ds:schemaRef ds:uri="93f06d8a-897a-4209-93a2-c0a8eb83f6e4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xenta-ppt</Template>
  <TotalTime>21034</TotalTime>
  <Words>395</Words>
  <Application>Microsoft Office PowerPoint</Application>
  <PresentationFormat>Širokoúhlá obrazovka</PresentationFormat>
  <Paragraphs>98</Paragraphs>
  <Slides>12</Slides>
  <Notes>7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12</vt:i4>
      </vt:variant>
    </vt:vector>
  </HeadingPairs>
  <TitlesOfParts>
    <vt:vector size="18" baseType="lpstr">
      <vt:lpstr>Arial</vt:lpstr>
      <vt:lpstr>Calibri</vt:lpstr>
      <vt:lpstr>Ebrima</vt:lpstr>
      <vt:lpstr>Tahoma</vt:lpstr>
      <vt:lpstr>Tw Cen MT</vt:lpstr>
      <vt:lpstr>Axenta-ppt</vt:lpstr>
      <vt:lpstr> CASE STUDY - Zajištění kybernetické bezpečnosti v ne/výrobní společnosti  </vt:lpstr>
      <vt:lpstr>Kdo jsme / víme jak na to © 2009  [2002]</vt:lpstr>
      <vt:lpstr>Co děláme? </vt:lpstr>
      <vt:lpstr>Prezentace aplikace PowerPoint</vt:lpstr>
      <vt:lpstr>Technologická Spolupráce</vt:lpstr>
      <vt:lpstr>Reference</vt:lpstr>
      <vt:lpstr>Prezentace aplikace PowerPoint</vt:lpstr>
      <vt:lpstr>Prezentace aplikace PowerPoint</vt:lpstr>
      <vt:lpstr>Původní stav </vt:lpstr>
      <vt:lpstr>Cílový stav </vt:lpstr>
      <vt:lpstr>Prezentace aplikace PowerPoint</vt:lpstr>
      <vt:lpstr>Děkujem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zpečnost komplexně SOC 2.0</dc:title>
  <dc:creator>Peter Jankovsky</dc:creator>
  <cp:lastModifiedBy>Jan Kozák</cp:lastModifiedBy>
  <cp:revision>12</cp:revision>
  <dcterms:created xsi:type="dcterms:W3CDTF">2017-11-02T23:08:40Z</dcterms:created>
  <dcterms:modified xsi:type="dcterms:W3CDTF">2024-03-11T14:51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FF469AC57398847BCC0594C359D6610</vt:lpwstr>
  </property>
  <property fmtid="{D5CDD505-2E9C-101B-9397-08002B2CF9AE}" pid="3" name="Order">
    <vt:r8>36591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AuthorIds_UIVersion_5120">
    <vt:lpwstr>6</vt:lpwstr>
  </property>
  <property fmtid="{D5CDD505-2E9C-101B-9397-08002B2CF9AE}" pid="9" name="AuthorIds_UIVersion_6144">
    <vt:lpwstr>6</vt:lpwstr>
  </property>
  <property fmtid="{D5CDD505-2E9C-101B-9397-08002B2CF9AE}" pid="10" name="MediaServiceImageTags">
    <vt:lpwstr/>
  </property>
</Properties>
</file>